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4" r:id="rId2"/>
    <p:sldMasterId id="2147483666" r:id="rId3"/>
    <p:sldMasterId id="2147483763" r:id="rId4"/>
  </p:sldMasterIdLst>
  <p:notesMasterIdLst>
    <p:notesMasterId r:id="rId23"/>
  </p:notesMasterIdLst>
  <p:handoutMasterIdLst>
    <p:handoutMasterId r:id="rId24"/>
  </p:handoutMasterIdLst>
  <p:sldIdLst>
    <p:sldId id="258" r:id="rId5"/>
    <p:sldId id="411" r:id="rId6"/>
    <p:sldId id="477" r:id="rId7"/>
    <p:sldId id="478" r:id="rId8"/>
    <p:sldId id="486" r:id="rId9"/>
    <p:sldId id="487" r:id="rId10"/>
    <p:sldId id="492" r:id="rId11"/>
    <p:sldId id="511" r:id="rId12"/>
    <p:sldId id="494" r:id="rId13"/>
    <p:sldId id="526" r:id="rId14"/>
    <p:sldId id="528" r:id="rId15"/>
    <p:sldId id="529" r:id="rId16"/>
    <p:sldId id="519" r:id="rId17"/>
    <p:sldId id="505" r:id="rId18"/>
    <p:sldId id="531" r:id="rId19"/>
    <p:sldId id="508" r:id="rId20"/>
    <p:sldId id="506" r:id="rId21"/>
    <p:sldId id="507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25">
          <p15:clr>
            <a:srgbClr val="A4A3A4"/>
          </p15:clr>
        </p15:guide>
        <p15:guide id="2" orient="horz" pos="300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2069">
          <p15:clr>
            <a:srgbClr val="A4A3A4"/>
          </p15:clr>
        </p15:guide>
        <p15:guide id="5" orient="horz" pos="4319">
          <p15:clr>
            <a:srgbClr val="A4A3A4"/>
          </p15:clr>
        </p15:guide>
        <p15:guide id="6" orient="horz" pos="2614">
          <p15:clr>
            <a:srgbClr val="A4A3A4"/>
          </p15:clr>
        </p15:guide>
        <p15:guide id="7" orient="horz" pos="3158">
          <p15:clr>
            <a:srgbClr val="A4A3A4"/>
          </p15:clr>
        </p15:guide>
        <p15:guide id="8" orient="horz" pos="3929">
          <p15:clr>
            <a:srgbClr val="A4A3A4"/>
          </p15:clr>
        </p15:guide>
        <p15:guide id="9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uzie" initials="S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000"/>
    <a:srgbClr val="820000"/>
    <a:srgbClr val="A80000"/>
    <a:srgbClr val="760000"/>
    <a:srgbClr val="17375E"/>
    <a:srgbClr val="C00000"/>
    <a:srgbClr val="376092"/>
    <a:srgbClr val="8D7668"/>
    <a:srgbClr val="8B7668"/>
    <a:srgbClr val="6959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Destaqu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Estilo Médio 3 - Destaqu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Estilo Escuro 2 - Destaque 1/Destaqu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794" autoAdjust="0"/>
    <p:restoredTop sz="87126" autoAdjust="0"/>
  </p:normalViewPr>
  <p:slideViewPr>
    <p:cSldViewPr showGuides="1">
      <p:cViewPr varScale="1">
        <p:scale>
          <a:sx n="96" d="100"/>
          <a:sy n="96" d="100"/>
        </p:scale>
        <p:origin x="2406" y="84"/>
      </p:cViewPr>
      <p:guideLst>
        <p:guide orient="horz" pos="1525"/>
        <p:guide orient="horz" pos="300"/>
        <p:guide orient="horz" pos="1253"/>
        <p:guide orient="horz" pos="2069"/>
        <p:guide orient="horz" pos="4319"/>
        <p:guide orient="horz" pos="2614"/>
        <p:guide orient="horz" pos="3158"/>
        <p:guide orient="horz" pos="392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51" d="100"/>
          <a:sy n="51" d="100"/>
        </p:scale>
        <p:origin x="-273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image" Target="../media/image21.jpeg"/><Relationship Id="rId4" Type="http://schemas.openxmlformats.org/officeDocument/2006/relationships/image" Target="../media/image24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image" Target="../media/image21.jpeg"/><Relationship Id="rId4" Type="http://schemas.openxmlformats.org/officeDocument/2006/relationships/image" Target="../media/image2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2840DF-8D5B-484D-896D-B93D29C06196}" type="doc">
      <dgm:prSet loTypeId="urn:microsoft.com/office/officeart/2005/8/layout/matrix1" loCatId="matrix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126C300-2B5A-407A-B099-D883DF548D1F}">
      <dgm:prSet phldrT="[Text]" custT="1"/>
      <dgm:spPr>
        <a:solidFill>
          <a:srgbClr val="8E0000"/>
        </a:solidFill>
      </dgm:spPr>
      <dgm:t>
        <a:bodyPr/>
        <a:lstStyle/>
        <a:p>
          <a:r>
            <a:rPr lang="en-US" sz="2800" dirty="0">
              <a:solidFill>
                <a:schemeClr val="bg1"/>
              </a:solidFill>
            </a:rPr>
            <a:t>Thank You from Portugal!</a:t>
          </a:r>
        </a:p>
      </dgm:t>
    </dgm:pt>
    <dgm:pt modelId="{68C5C721-6E00-405F-83E5-B29DF76F19F9}" type="parTrans" cxnId="{205339F3-2144-4086-9C7C-9027AFF0017D}">
      <dgm:prSet/>
      <dgm:spPr/>
      <dgm:t>
        <a:bodyPr/>
        <a:lstStyle/>
        <a:p>
          <a:endParaRPr lang="en-US"/>
        </a:p>
      </dgm:t>
    </dgm:pt>
    <dgm:pt modelId="{8A61AD11-2142-4BF7-9215-DBF7E1ED59D1}" type="sibTrans" cxnId="{205339F3-2144-4086-9C7C-9027AFF0017D}">
      <dgm:prSet/>
      <dgm:spPr/>
      <dgm:t>
        <a:bodyPr/>
        <a:lstStyle/>
        <a:p>
          <a:endParaRPr lang="en-US"/>
        </a:p>
      </dgm:t>
    </dgm:pt>
    <dgm:pt modelId="{F40673E5-67FA-4A6C-92D6-BC10F59ADBC7}">
      <dgm:prSet phldrT="[Text]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r>
            <a:rPr lang="en-US"/>
            <a:t> </a:t>
          </a:r>
        </a:p>
      </dgm:t>
    </dgm:pt>
    <dgm:pt modelId="{ACC7DB61-3037-40E9-A547-4184C5344040}" type="parTrans" cxnId="{39C60404-DAF8-4A96-B8E9-64ED45889ED9}">
      <dgm:prSet/>
      <dgm:spPr/>
      <dgm:t>
        <a:bodyPr/>
        <a:lstStyle/>
        <a:p>
          <a:endParaRPr lang="en-US"/>
        </a:p>
      </dgm:t>
    </dgm:pt>
    <dgm:pt modelId="{8CDCE6B8-6F1E-4FF4-A449-5F25359941B9}" type="sibTrans" cxnId="{39C60404-DAF8-4A96-B8E9-64ED45889ED9}">
      <dgm:prSet/>
      <dgm:spPr/>
      <dgm:t>
        <a:bodyPr/>
        <a:lstStyle/>
        <a:p>
          <a:endParaRPr lang="en-US"/>
        </a:p>
      </dgm:t>
    </dgm:pt>
    <dgm:pt modelId="{3E9217CB-9EB1-4AD5-BD05-547475D113B7}">
      <dgm:prSet phldrT="[Text]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r>
            <a:rPr lang="en-US"/>
            <a:t> </a:t>
          </a:r>
        </a:p>
      </dgm:t>
    </dgm:pt>
    <dgm:pt modelId="{0CD48B97-400D-4D2D-9491-E81492B82A9E}" type="parTrans" cxnId="{90C12562-26D4-4E41-AD24-7D73232C41EE}">
      <dgm:prSet/>
      <dgm:spPr/>
      <dgm:t>
        <a:bodyPr/>
        <a:lstStyle/>
        <a:p>
          <a:endParaRPr lang="en-US"/>
        </a:p>
      </dgm:t>
    </dgm:pt>
    <dgm:pt modelId="{6BBE1B8F-388C-4870-B24A-820ADE916CDE}" type="sibTrans" cxnId="{90C12562-26D4-4E41-AD24-7D73232C41EE}">
      <dgm:prSet/>
      <dgm:spPr/>
      <dgm:t>
        <a:bodyPr/>
        <a:lstStyle/>
        <a:p>
          <a:endParaRPr lang="en-US"/>
        </a:p>
      </dgm:t>
    </dgm:pt>
    <dgm:pt modelId="{E5F014E3-1210-480A-83E5-B29A67FA9C19}">
      <dgm:prSet phldrT="[Text]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r>
            <a:rPr lang="en-US"/>
            <a:t> </a:t>
          </a:r>
        </a:p>
      </dgm:t>
    </dgm:pt>
    <dgm:pt modelId="{E3840DCB-1B21-47A4-ABEA-46F935D3366E}" type="parTrans" cxnId="{B01C63A0-6D58-4802-8BA1-F4DB3D70B17C}">
      <dgm:prSet/>
      <dgm:spPr/>
      <dgm:t>
        <a:bodyPr/>
        <a:lstStyle/>
        <a:p>
          <a:endParaRPr lang="en-US"/>
        </a:p>
      </dgm:t>
    </dgm:pt>
    <dgm:pt modelId="{D7881529-E7ED-4826-8FE5-A00FC4714129}" type="sibTrans" cxnId="{B01C63A0-6D58-4802-8BA1-F4DB3D70B17C}">
      <dgm:prSet/>
      <dgm:spPr/>
      <dgm:t>
        <a:bodyPr/>
        <a:lstStyle/>
        <a:p>
          <a:endParaRPr lang="en-US"/>
        </a:p>
      </dgm:t>
    </dgm:pt>
    <dgm:pt modelId="{72DD7C74-4197-4F19-891E-14A58CDB7373}">
      <dgm:prSet phldrT="[Text]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r>
            <a:rPr lang="en-US"/>
            <a:t> </a:t>
          </a:r>
        </a:p>
      </dgm:t>
    </dgm:pt>
    <dgm:pt modelId="{0939D0F4-8B2F-4185-96CA-B7F219CA6193}" type="parTrans" cxnId="{3AB20DC2-A43B-4AE5-819B-5733F5208014}">
      <dgm:prSet/>
      <dgm:spPr/>
      <dgm:t>
        <a:bodyPr/>
        <a:lstStyle/>
        <a:p>
          <a:endParaRPr lang="en-US"/>
        </a:p>
      </dgm:t>
    </dgm:pt>
    <dgm:pt modelId="{A4351582-F698-453A-AB27-AAB2521D322C}" type="sibTrans" cxnId="{3AB20DC2-A43B-4AE5-819B-5733F5208014}">
      <dgm:prSet/>
      <dgm:spPr/>
      <dgm:t>
        <a:bodyPr/>
        <a:lstStyle/>
        <a:p>
          <a:endParaRPr lang="en-US"/>
        </a:p>
      </dgm:t>
    </dgm:pt>
    <dgm:pt modelId="{6FB2D1F5-71BE-46C2-9752-FC4362EB43A7}" type="pres">
      <dgm:prSet presAssocID="{C52840DF-8D5B-484D-896D-B93D29C0619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F81EAEEC-E405-46FA-81D1-576EE0EA1C35}" type="pres">
      <dgm:prSet presAssocID="{C52840DF-8D5B-484D-896D-B93D29C06196}" presName="matrix" presStyleCnt="0"/>
      <dgm:spPr/>
    </dgm:pt>
    <dgm:pt modelId="{35894D2A-7448-4EEF-BE7A-AFECDF46E879}" type="pres">
      <dgm:prSet presAssocID="{C52840DF-8D5B-484D-896D-B93D29C06196}" presName="tile1" presStyleLbl="node1" presStyleIdx="0" presStyleCnt="4"/>
      <dgm:spPr/>
    </dgm:pt>
    <dgm:pt modelId="{7D6BE7A4-F4F8-41A6-B378-82CB3DEF028B}" type="pres">
      <dgm:prSet presAssocID="{C52840DF-8D5B-484D-896D-B93D29C0619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61419D1-020B-4657-BF78-9F0E18F7ED53}" type="pres">
      <dgm:prSet presAssocID="{C52840DF-8D5B-484D-896D-B93D29C06196}" presName="tile2" presStyleLbl="node1" presStyleIdx="1" presStyleCnt="4"/>
      <dgm:spPr/>
    </dgm:pt>
    <dgm:pt modelId="{6AE1032C-5A52-45A7-B42C-E3AD4E29B0D4}" type="pres">
      <dgm:prSet presAssocID="{C52840DF-8D5B-484D-896D-B93D29C0619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94D001CF-E85D-43CF-A52B-834DD35C680F}" type="pres">
      <dgm:prSet presAssocID="{C52840DF-8D5B-484D-896D-B93D29C06196}" presName="tile3" presStyleLbl="node1" presStyleIdx="2" presStyleCnt="4"/>
      <dgm:spPr/>
    </dgm:pt>
    <dgm:pt modelId="{7BA5ED7B-4C9D-4749-976E-6907BA0B55EF}" type="pres">
      <dgm:prSet presAssocID="{C52840DF-8D5B-484D-896D-B93D29C0619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0CD42C0B-1FA3-425E-90C8-A1C3A2B21B06}" type="pres">
      <dgm:prSet presAssocID="{C52840DF-8D5B-484D-896D-B93D29C06196}" presName="tile4" presStyleLbl="node1" presStyleIdx="3" presStyleCnt="4"/>
      <dgm:spPr/>
    </dgm:pt>
    <dgm:pt modelId="{5408CB34-D5AA-41FA-B3B2-04CFE8A47361}" type="pres">
      <dgm:prSet presAssocID="{C52840DF-8D5B-484D-896D-B93D29C0619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A4D9E059-1CF5-46B4-9BDC-6A89B9F2C818}" type="pres">
      <dgm:prSet presAssocID="{C52840DF-8D5B-484D-896D-B93D29C0619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39C60404-DAF8-4A96-B8E9-64ED45889ED9}" srcId="{9126C300-2B5A-407A-B099-D883DF548D1F}" destId="{F40673E5-67FA-4A6C-92D6-BC10F59ADBC7}" srcOrd="0" destOrd="0" parTransId="{ACC7DB61-3037-40E9-A547-4184C5344040}" sibTransId="{8CDCE6B8-6F1E-4FF4-A449-5F25359941B9}"/>
    <dgm:cxn modelId="{92B4F21B-8086-4759-B151-BD467DB29992}" type="presOf" srcId="{72DD7C74-4197-4F19-891E-14A58CDB7373}" destId="{0CD42C0B-1FA3-425E-90C8-A1C3A2B21B06}" srcOrd="0" destOrd="0" presId="urn:microsoft.com/office/officeart/2005/8/layout/matrix1"/>
    <dgm:cxn modelId="{DE797327-193E-4834-AFC2-1DBE55211C55}" type="presOf" srcId="{C52840DF-8D5B-484D-896D-B93D29C06196}" destId="{6FB2D1F5-71BE-46C2-9752-FC4362EB43A7}" srcOrd="0" destOrd="0" presId="urn:microsoft.com/office/officeart/2005/8/layout/matrix1"/>
    <dgm:cxn modelId="{90C12562-26D4-4E41-AD24-7D73232C41EE}" srcId="{9126C300-2B5A-407A-B099-D883DF548D1F}" destId="{3E9217CB-9EB1-4AD5-BD05-547475D113B7}" srcOrd="1" destOrd="0" parTransId="{0CD48B97-400D-4D2D-9491-E81492B82A9E}" sibTransId="{6BBE1B8F-388C-4870-B24A-820ADE916CDE}"/>
    <dgm:cxn modelId="{3F5ACE70-E550-4FE5-A6C0-5AD6DACB9E06}" type="presOf" srcId="{9126C300-2B5A-407A-B099-D883DF548D1F}" destId="{A4D9E059-1CF5-46B4-9BDC-6A89B9F2C818}" srcOrd="0" destOrd="0" presId="urn:microsoft.com/office/officeart/2005/8/layout/matrix1"/>
    <dgm:cxn modelId="{B01C63A0-6D58-4802-8BA1-F4DB3D70B17C}" srcId="{9126C300-2B5A-407A-B099-D883DF548D1F}" destId="{E5F014E3-1210-480A-83E5-B29A67FA9C19}" srcOrd="2" destOrd="0" parTransId="{E3840DCB-1B21-47A4-ABEA-46F935D3366E}" sibTransId="{D7881529-E7ED-4826-8FE5-A00FC4714129}"/>
    <dgm:cxn modelId="{472D22A4-B80D-4EEB-B6A0-F8F4790AFE64}" type="presOf" srcId="{E5F014E3-1210-480A-83E5-B29A67FA9C19}" destId="{94D001CF-E85D-43CF-A52B-834DD35C680F}" srcOrd="0" destOrd="0" presId="urn:microsoft.com/office/officeart/2005/8/layout/matrix1"/>
    <dgm:cxn modelId="{99E612A9-934A-4B59-9C42-1AC63A1F4256}" type="presOf" srcId="{E5F014E3-1210-480A-83E5-B29A67FA9C19}" destId="{7BA5ED7B-4C9D-4749-976E-6907BA0B55EF}" srcOrd="1" destOrd="0" presId="urn:microsoft.com/office/officeart/2005/8/layout/matrix1"/>
    <dgm:cxn modelId="{8BE029B6-69A7-4564-895F-6AE785F4C37C}" type="presOf" srcId="{3E9217CB-9EB1-4AD5-BD05-547475D113B7}" destId="{261419D1-020B-4657-BF78-9F0E18F7ED53}" srcOrd="0" destOrd="0" presId="urn:microsoft.com/office/officeart/2005/8/layout/matrix1"/>
    <dgm:cxn modelId="{3AB20DC2-A43B-4AE5-819B-5733F5208014}" srcId="{9126C300-2B5A-407A-B099-D883DF548D1F}" destId="{72DD7C74-4197-4F19-891E-14A58CDB7373}" srcOrd="3" destOrd="0" parTransId="{0939D0F4-8B2F-4185-96CA-B7F219CA6193}" sibTransId="{A4351582-F698-453A-AB27-AAB2521D322C}"/>
    <dgm:cxn modelId="{AF0244C7-354D-43A9-85FC-8EAB8606A5D8}" type="presOf" srcId="{72DD7C74-4197-4F19-891E-14A58CDB7373}" destId="{5408CB34-D5AA-41FA-B3B2-04CFE8A47361}" srcOrd="1" destOrd="0" presId="urn:microsoft.com/office/officeart/2005/8/layout/matrix1"/>
    <dgm:cxn modelId="{205339F3-2144-4086-9C7C-9027AFF0017D}" srcId="{C52840DF-8D5B-484D-896D-B93D29C06196}" destId="{9126C300-2B5A-407A-B099-D883DF548D1F}" srcOrd="0" destOrd="0" parTransId="{68C5C721-6E00-405F-83E5-B29DF76F19F9}" sibTransId="{8A61AD11-2142-4BF7-9215-DBF7E1ED59D1}"/>
    <dgm:cxn modelId="{A1772FF5-181E-4FCF-BB3C-B897F367F5E1}" type="presOf" srcId="{F40673E5-67FA-4A6C-92D6-BC10F59ADBC7}" destId="{7D6BE7A4-F4F8-41A6-B378-82CB3DEF028B}" srcOrd="1" destOrd="0" presId="urn:microsoft.com/office/officeart/2005/8/layout/matrix1"/>
    <dgm:cxn modelId="{5DE821FD-8227-41CA-B43A-01A532725905}" type="presOf" srcId="{F40673E5-67FA-4A6C-92D6-BC10F59ADBC7}" destId="{35894D2A-7448-4EEF-BE7A-AFECDF46E879}" srcOrd="0" destOrd="0" presId="urn:microsoft.com/office/officeart/2005/8/layout/matrix1"/>
    <dgm:cxn modelId="{A2282FFF-3BBE-4984-9DD8-6862DD186505}" type="presOf" srcId="{3E9217CB-9EB1-4AD5-BD05-547475D113B7}" destId="{6AE1032C-5A52-45A7-B42C-E3AD4E29B0D4}" srcOrd="1" destOrd="0" presId="urn:microsoft.com/office/officeart/2005/8/layout/matrix1"/>
    <dgm:cxn modelId="{2B129EF4-D4E5-40F8-B249-2603C0F1974C}" type="presParOf" srcId="{6FB2D1F5-71BE-46C2-9752-FC4362EB43A7}" destId="{F81EAEEC-E405-46FA-81D1-576EE0EA1C35}" srcOrd="0" destOrd="0" presId="urn:microsoft.com/office/officeart/2005/8/layout/matrix1"/>
    <dgm:cxn modelId="{00DB0C0C-7705-4E7A-9075-FE36B1C558CE}" type="presParOf" srcId="{F81EAEEC-E405-46FA-81D1-576EE0EA1C35}" destId="{35894D2A-7448-4EEF-BE7A-AFECDF46E879}" srcOrd="0" destOrd="0" presId="urn:microsoft.com/office/officeart/2005/8/layout/matrix1"/>
    <dgm:cxn modelId="{CD8892C4-06F5-4BCD-8701-9EC88E648A7C}" type="presParOf" srcId="{F81EAEEC-E405-46FA-81D1-576EE0EA1C35}" destId="{7D6BE7A4-F4F8-41A6-B378-82CB3DEF028B}" srcOrd="1" destOrd="0" presId="urn:microsoft.com/office/officeart/2005/8/layout/matrix1"/>
    <dgm:cxn modelId="{DCD4D328-55AE-4369-9BE4-C89030AF6DBB}" type="presParOf" srcId="{F81EAEEC-E405-46FA-81D1-576EE0EA1C35}" destId="{261419D1-020B-4657-BF78-9F0E18F7ED53}" srcOrd="2" destOrd="0" presId="urn:microsoft.com/office/officeart/2005/8/layout/matrix1"/>
    <dgm:cxn modelId="{7A20453F-C35C-49F9-87AE-0E7803A06C9D}" type="presParOf" srcId="{F81EAEEC-E405-46FA-81D1-576EE0EA1C35}" destId="{6AE1032C-5A52-45A7-B42C-E3AD4E29B0D4}" srcOrd="3" destOrd="0" presId="urn:microsoft.com/office/officeart/2005/8/layout/matrix1"/>
    <dgm:cxn modelId="{30C2E3E6-BDA5-4A1B-A32E-9AEC6134C2D1}" type="presParOf" srcId="{F81EAEEC-E405-46FA-81D1-576EE0EA1C35}" destId="{94D001CF-E85D-43CF-A52B-834DD35C680F}" srcOrd="4" destOrd="0" presId="urn:microsoft.com/office/officeart/2005/8/layout/matrix1"/>
    <dgm:cxn modelId="{7DA9BF66-8994-4DC5-9EAD-67054501266D}" type="presParOf" srcId="{F81EAEEC-E405-46FA-81D1-576EE0EA1C35}" destId="{7BA5ED7B-4C9D-4749-976E-6907BA0B55EF}" srcOrd="5" destOrd="0" presId="urn:microsoft.com/office/officeart/2005/8/layout/matrix1"/>
    <dgm:cxn modelId="{63B3E4E4-CCAC-4615-AC3A-F8B40EC594C6}" type="presParOf" srcId="{F81EAEEC-E405-46FA-81D1-576EE0EA1C35}" destId="{0CD42C0B-1FA3-425E-90C8-A1C3A2B21B06}" srcOrd="6" destOrd="0" presId="urn:microsoft.com/office/officeart/2005/8/layout/matrix1"/>
    <dgm:cxn modelId="{C4D4DCF9-4D04-4E9D-AB05-2DDD1F21AAA2}" type="presParOf" srcId="{F81EAEEC-E405-46FA-81D1-576EE0EA1C35}" destId="{5408CB34-D5AA-41FA-B3B2-04CFE8A47361}" srcOrd="7" destOrd="0" presId="urn:microsoft.com/office/officeart/2005/8/layout/matrix1"/>
    <dgm:cxn modelId="{3F71EE88-A090-4590-9C9B-4A0101F3614F}" type="presParOf" srcId="{6FB2D1F5-71BE-46C2-9752-FC4362EB43A7}" destId="{A4D9E059-1CF5-46B4-9BDC-6A89B9F2C818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94D2A-7448-4EEF-BE7A-AFECDF46E879}">
      <dsp:nvSpPr>
        <dsp:cNvPr id="0" name=""/>
        <dsp:cNvSpPr/>
      </dsp:nvSpPr>
      <dsp:spPr>
        <a:xfrm rot="16200000">
          <a:off x="646938" y="-646938"/>
          <a:ext cx="2592324" cy="3886200"/>
        </a:xfrm>
        <a:prstGeom prst="round1Rect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2280" tIns="462280" rIns="462280" bIns="46228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/>
            <a:t> </a:t>
          </a:r>
        </a:p>
      </dsp:txBody>
      <dsp:txXfrm rot="5400000">
        <a:off x="0" y="0"/>
        <a:ext cx="3886200" cy="1944243"/>
      </dsp:txXfrm>
    </dsp:sp>
    <dsp:sp modelId="{261419D1-020B-4657-BF78-9F0E18F7ED53}">
      <dsp:nvSpPr>
        <dsp:cNvPr id="0" name=""/>
        <dsp:cNvSpPr/>
      </dsp:nvSpPr>
      <dsp:spPr>
        <a:xfrm>
          <a:off x="3886200" y="0"/>
          <a:ext cx="3886200" cy="2592324"/>
        </a:xfrm>
        <a:prstGeom prst="round1Rect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2280" tIns="462280" rIns="462280" bIns="46228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/>
            <a:t> </a:t>
          </a:r>
        </a:p>
      </dsp:txBody>
      <dsp:txXfrm>
        <a:off x="3886200" y="0"/>
        <a:ext cx="3886200" cy="1944243"/>
      </dsp:txXfrm>
    </dsp:sp>
    <dsp:sp modelId="{94D001CF-E85D-43CF-A52B-834DD35C680F}">
      <dsp:nvSpPr>
        <dsp:cNvPr id="0" name=""/>
        <dsp:cNvSpPr/>
      </dsp:nvSpPr>
      <dsp:spPr>
        <a:xfrm rot="10800000">
          <a:off x="0" y="2592324"/>
          <a:ext cx="3886200" cy="2592324"/>
        </a:xfrm>
        <a:prstGeom prst="round1Rect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2280" tIns="462280" rIns="462280" bIns="46228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/>
            <a:t> </a:t>
          </a:r>
        </a:p>
      </dsp:txBody>
      <dsp:txXfrm rot="10800000">
        <a:off x="0" y="3240404"/>
        <a:ext cx="3886200" cy="1944243"/>
      </dsp:txXfrm>
    </dsp:sp>
    <dsp:sp modelId="{0CD42C0B-1FA3-425E-90C8-A1C3A2B21B06}">
      <dsp:nvSpPr>
        <dsp:cNvPr id="0" name=""/>
        <dsp:cNvSpPr/>
      </dsp:nvSpPr>
      <dsp:spPr>
        <a:xfrm rot="5400000">
          <a:off x="4533138" y="1945386"/>
          <a:ext cx="2592324" cy="3886200"/>
        </a:xfrm>
        <a:prstGeom prst="round1Rect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2280" tIns="462280" rIns="462280" bIns="46228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6500" kern="1200"/>
            <a:t> </a:t>
          </a:r>
        </a:p>
      </dsp:txBody>
      <dsp:txXfrm rot="-5400000">
        <a:off x="3886200" y="3240404"/>
        <a:ext cx="3886200" cy="1944243"/>
      </dsp:txXfrm>
    </dsp:sp>
    <dsp:sp modelId="{A4D9E059-1CF5-46B4-9BDC-6A89B9F2C818}">
      <dsp:nvSpPr>
        <dsp:cNvPr id="0" name=""/>
        <dsp:cNvSpPr/>
      </dsp:nvSpPr>
      <dsp:spPr>
        <a:xfrm>
          <a:off x="2720340" y="1944243"/>
          <a:ext cx="2331720" cy="1296162"/>
        </a:xfrm>
        <a:prstGeom prst="roundRect">
          <a:avLst/>
        </a:prstGeom>
        <a:solidFill>
          <a:srgbClr val="8E0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chemeClr val="bg1"/>
              </a:solidFill>
            </a:rPr>
            <a:t>Thank You from Portugal!</a:t>
          </a:r>
        </a:p>
      </dsp:txBody>
      <dsp:txXfrm>
        <a:off x="2783613" y="2007516"/>
        <a:ext cx="2205174" cy="11696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843CF-22AA-4C82-8B50-B42CC948F839}" type="datetimeFigureOut">
              <a:rPr lang="pt-PT" smtClean="0"/>
              <a:pPr/>
              <a:t>11/05/2019</a:t>
            </a:fld>
            <a:endParaRPr lang="pt-PT"/>
          </a:p>
        </p:txBody>
      </p:sp>
      <p:sp>
        <p:nvSpPr>
          <p:cNvPr id="4" name="Marcador de Posição do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F887E7-0133-49C7-9611-50873CF3C8D3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05046300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BF77A4-95C4-49A7-B18D-D234C078783D}" type="datetimeFigureOut">
              <a:rPr lang="en-US" smtClean="0"/>
              <a:pPr/>
              <a:t>5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F40DFA-B482-4AD0-A536-856EB395CEAD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908334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200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Marcador de Posição do Cabeçalho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963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3978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9360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3461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F6FF9-49A2-4A4B-B69C-D21F772C9CFB}" type="slidenum">
              <a:rPr lang="pt-PT" smtClean="0"/>
              <a:p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294421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869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0728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3771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971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267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PT" altLang="pt-PT"/>
          </a:p>
        </p:txBody>
      </p:sp>
      <p:sp>
        <p:nvSpPr>
          <p:cNvPr id="2" name="Marcador de Posição do Cabeçalho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40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4072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894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079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441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8667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430376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PT" dirty="0"/>
          </a:p>
        </p:txBody>
      </p:sp>
      <p:sp>
        <p:nvSpPr>
          <p:cNvPr id="4" name="Marcador de Posição do Cabeçalho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Posição do Número do Diapositivo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F40DFA-B482-4AD0-A536-856EB395CEA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251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D3CB9-049B-4F4F-82D1-8A95299C975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ounded 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5661248"/>
          </a:xfrm>
          <a:prstGeom prst="roundRect">
            <a:avLst>
              <a:gd name="adj" fmla="val 0"/>
            </a:avLst>
          </a:prstGeom>
          <a:solidFill>
            <a:srgbClr val="76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914400" eaLnBrk="0" hangingPunct="0">
              <a:defRPr/>
            </a:pPr>
            <a:endParaRPr lang="en-US" sz="3200" b="0" baseline="0">
              <a:solidFill>
                <a:srgbClr val="009900"/>
              </a:solidFill>
              <a:latin typeface="Arial" charset="0"/>
              <a:ea typeface="ＭＳ Ｐゴシック" pitchFamily="-107" charset="-128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line Only - No Top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/>
          <p:nvPr userDrawn="1"/>
        </p:nvSpPr>
        <p:spPr>
          <a:xfrm>
            <a:off x="0" y="725488"/>
            <a:ext cx="9144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88300" y="6457950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63E03AA-ADF7-4C51-9CFE-3350D2EF4143}" type="slidenum">
              <a:rPr lang="en-US">
                <a:solidFill>
                  <a:prstClr val="white">
                    <a:lumMod val="95000"/>
                  </a:prstClr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1292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line Only Slide - No Bottom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/>
          <p:nvPr userDrawn="1"/>
        </p:nvSpPr>
        <p:spPr>
          <a:xfrm>
            <a:off x="0" y="6243638"/>
            <a:ext cx="9144000" cy="614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6946900" y="6457950"/>
            <a:ext cx="1714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988300" y="6457950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96D3A65-2781-4B16-BF80-EBD0FD0EFE39}" type="slidenum">
              <a:rPr lang="en-US">
                <a:solidFill>
                  <a:prstClr val="white">
                    <a:lumMod val="95000"/>
                  </a:prstClr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462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/>
          <p:nvPr userDrawn="1"/>
        </p:nvSpPr>
        <p:spPr>
          <a:xfrm>
            <a:off x="0" y="6311900"/>
            <a:ext cx="9144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0" y="725488"/>
            <a:ext cx="9144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946900" y="6457950"/>
            <a:ext cx="1714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988300" y="6457950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A61A87E-BF13-4B80-B8AB-40BF12E2984F}" type="slidenum">
              <a:rPr lang="en-US">
                <a:solidFill>
                  <a:prstClr val="white">
                    <a:lumMod val="95000"/>
                  </a:prstClr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782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/>
          <p:nvPr userDrawn="1"/>
        </p:nvSpPr>
        <p:spPr>
          <a:xfrm>
            <a:off x="0" y="722313"/>
            <a:ext cx="9144000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988300" y="6457950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63822E8E-98A3-43D6-B046-F4EFECBAE41C}" type="slidenum">
              <a:rPr lang="en-US">
                <a:solidFill>
                  <a:prstClr val="white">
                    <a:lumMod val="95000"/>
                  </a:prstClr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457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Headlin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0" baseline="0">
                <a:latin typeface="Arial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07BFD86-86E6-47AD-B70F-2FAFA22AC253}" type="datetime1">
              <a:rPr lang="en-US" smtClean="0">
                <a:solidFill>
                  <a:prstClr val="black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5/11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988300" y="6457950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baseline="0">
                <a:solidFill>
                  <a:schemeClr val="bg1">
                    <a:lumMod val="95000"/>
                  </a:schemeClr>
                </a:solidFill>
                <a:latin typeface="Century Gothic" pitchFamily="34" charset="0"/>
                <a:ea typeface="ＭＳ Ｐゴシック" pitchFamily="-107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E89F8BCC-4F57-4827-A5E6-9D3036939A9B}" type="slidenum">
              <a:rPr lang="en-US">
                <a:solidFill>
                  <a:prstClr val="white">
                    <a:lumMod val="95000"/>
                  </a:prstClr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>
              <a:solidFill>
                <a:prstClr val="white">
                  <a:lumMod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610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71DEE-ABAB-4733-9760-4C5BFE85C6C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1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D352C-5E63-442D-BE51-864CE1E39356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C7614-15A9-43A8-9E98-106A33ED6C4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5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D3CB9-049B-4F4F-82D1-8A95299C975C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38074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objec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/>
              <a:t>Clique para editar o estilo</a:t>
            </a:r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PT"/>
              <a:t>Clique para editar os estilos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4" name="Marcador de Posição d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4C3E-0E83-4024-8812-ACC3DF28B5FD}" type="datetimeFigureOut">
              <a:rPr lang="pt-PT" smtClean="0"/>
              <a:pPr/>
              <a:t>11/05/2019</a:t>
            </a:fld>
            <a:endParaRPr lang="pt-PT"/>
          </a:p>
        </p:txBody>
      </p:sp>
      <p:sp>
        <p:nvSpPr>
          <p:cNvPr id="5" name="Marcador de Posição do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Marcador de Posição do Número do Diapositivo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F6272F-2807-4F4E-82F0-258DCD6A38A9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8444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/>
          <p:nvPr userDrawn="1"/>
        </p:nvSpPr>
        <p:spPr>
          <a:xfrm>
            <a:off x="0" y="6311900"/>
            <a:ext cx="9144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ounded 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5810250"/>
          </a:xfrm>
          <a:prstGeom prst="roundRect">
            <a:avLst>
              <a:gd name="adj" fmla="val 0"/>
            </a:avLst>
          </a:prstGeom>
          <a:solidFill>
            <a:srgbClr val="76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009900"/>
              </a:solidFill>
              <a:latin typeface="Arial" charset="0"/>
              <a:ea typeface="ＭＳ Ｐゴシック" pitchFamily="-107" charset="-128"/>
            </a:endParaRPr>
          </a:p>
        </p:txBody>
      </p:sp>
      <p:pic>
        <p:nvPicPr>
          <p:cNvPr id="5" name="Picture 2" descr="C:\Documents and Settings\samaro\Ambiente de trabalho\Doutoramento\logos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2188"/>
            <a:ext cx="2973388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5398" y="4766508"/>
            <a:ext cx="7772400" cy="661742"/>
          </a:xfrm>
        </p:spPr>
        <p:txBody>
          <a:bodyPr anchor="t">
            <a:noAutofit/>
          </a:bodyPr>
          <a:lstStyle>
            <a:lvl1pPr algn="r">
              <a:defRPr sz="3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1995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/>
          <p:nvPr userDrawn="1"/>
        </p:nvSpPr>
        <p:spPr bwMode="auto">
          <a:xfrm>
            <a:off x="0" y="3424238"/>
            <a:ext cx="9144000" cy="762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Rectangle 10"/>
          <p:cNvSpPr/>
          <p:nvPr userDrawn="1"/>
        </p:nvSpPr>
        <p:spPr bwMode="auto">
          <a:xfrm>
            <a:off x="0" y="0"/>
            <a:ext cx="9144000" cy="3424238"/>
          </a:xfrm>
          <a:prstGeom prst="rect">
            <a:avLst/>
          </a:prstGeom>
          <a:solidFill>
            <a:srgbClr val="269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Rectangle 11"/>
          <p:cNvSpPr/>
          <p:nvPr userDrawn="1"/>
        </p:nvSpPr>
        <p:spPr>
          <a:xfrm>
            <a:off x="0" y="6311900"/>
            <a:ext cx="9144000" cy="546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6388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Main Content Slid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/>
          <p:nvPr userDrawn="1"/>
        </p:nvSpPr>
        <p:spPr bwMode="auto">
          <a:xfrm>
            <a:off x="0" y="6337300"/>
            <a:ext cx="9144000" cy="777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5" name="Picture 5" descr="PR-Gradient-Bar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71"/>
          <a:stretch>
            <a:fillRect/>
          </a:stretch>
        </p:blipFill>
        <p:spPr bwMode="auto">
          <a:xfrm>
            <a:off x="-9847" y="690067"/>
            <a:ext cx="91440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etailblah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138" y="6503988"/>
            <a:ext cx="976312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9"/>
          <p:cNvSpPr txBox="1">
            <a:spLocks noChangeArrowheads="1"/>
          </p:cNvSpPr>
          <p:nvPr userDrawn="1"/>
        </p:nvSpPr>
        <p:spPr bwMode="auto">
          <a:xfrm>
            <a:off x="7620000" y="6426200"/>
            <a:ext cx="114300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defTabSz="4572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baseline="-25000">
                <a:solidFill>
                  <a:prstClr val="white"/>
                </a:solidFill>
                <a:latin typeface="Century Gothic" pitchFamily="1" charset="0"/>
                <a:ea typeface="ＭＳ Ｐゴシック" pitchFamily="1" charset="-128"/>
              </a:rPr>
              <a:t>pg. </a:t>
            </a:r>
            <a:fld id="{B4059AB4-1CC6-478E-A723-F09508BDCE85}" type="slidenum">
              <a:rPr lang="en-US" baseline="-25000">
                <a:solidFill>
                  <a:prstClr val="white"/>
                </a:solidFill>
                <a:latin typeface="Century Gothic" pitchFamily="1" charset="0"/>
                <a:ea typeface="ＭＳ Ｐゴシック" pitchFamily="1" charset="-128"/>
              </a:rPr>
              <a:pPr algn="r" defTabSz="457200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nº›</a:t>
            </a:fld>
            <a:endParaRPr lang="en-US" baseline="-25000">
              <a:solidFill>
                <a:prstClr val="white"/>
              </a:solidFill>
              <a:latin typeface="Century Gothic" pitchFamily="1" charset="0"/>
              <a:ea typeface="ＭＳ Ｐゴシック" pitchFamily="1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1806"/>
            <a:ext cx="8229600" cy="792162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rgbClr val="0099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029200"/>
          </a:xfrm>
        </p:spPr>
        <p:txBody>
          <a:bodyPr/>
          <a:lstStyle>
            <a:lvl1pPr>
              <a:buClr>
                <a:srgbClr val="009900"/>
              </a:buClr>
              <a:defRPr sz="3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buClr>
                <a:srgbClr val="0099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0099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0099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0099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94876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069431"/>
            <a:ext cx="4038600" cy="40567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69431"/>
            <a:ext cx="4038600" cy="405673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457200" y="1198217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98217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4741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lin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4450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9827B4-0BC7-4EB3-BEF4-ACFE070D336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D3CB9-049B-4F4F-82D1-8A95299C975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ransition>
    <p:fade/>
  </p:transition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07095-D0A6-4E8E-8CA1-4A91CBC32C4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D3CB9-049B-4F4F-82D1-8A95299C975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74" r:id="rId2"/>
    <p:sldLayoutId id="2147483775" r:id="rId3"/>
  </p:sldLayoutIdLst>
  <p:transition>
    <p:fade/>
  </p:transition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427788"/>
            <a:ext cx="9144000" cy="430212"/>
          </a:xfrm>
          <a:prstGeom prst="rect">
            <a:avLst/>
          </a:prstGeom>
          <a:solidFill>
            <a:srgbClr val="269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</a:endParaRPr>
          </a:p>
        </p:txBody>
      </p:sp>
      <p:pic>
        <p:nvPicPr>
          <p:cNvPr id="1027" name="Picture 18" descr="White_Logo.eps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130"/>
          <a:stretch>
            <a:fillRect/>
          </a:stretch>
        </p:blipFill>
        <p:spPr bwMode="auto">
          <a:xfrm>
            <a:off x="561975" y="6496050"/>
            <a:ext cx="205898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 bwMode="auto">
          <a:xfrm>
            <a:off x="0" y="6353175"/>
            <a:ext cx="9144000" cy="7778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9" name="Picture 5" descr="PR-Gradient-Bar.jp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571"/>
          <a:stretch>
            <a:fillRect/>
          </a:stretch>
        </p:blipFill>
        <p:spPr bwMode="auto">
          <a:xfrm>
            <a:off x="0" y="947738"/>
            <a:ext cx="91440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36538"/>
            <a:ext cx="8229600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PT"/>
              <a:t>Click to edit Master title style</a:t>
            </a:r>
          </a:p>
        </p:txBody>
      </p:sp>
      <p:sp>
        <p:nvSpPr>
          <p:cNvPr id="10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193800"/>
            <a:ext cx="8229600" cy="4932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PT"/>
              <a:t>Click to edit Master text styles</a:t>
            </a:r>
          </a:p>
          <a:p>
            <a:pPr lvl="1"/>
            <a:r>
              <a:rPr lang="en-US" altLang="pt-PT"/>
              <a:t>Second level</a:t>
            </a:r>
          </a:p>
          <a:p>
            <a:pPr lvl="2"/>
            <a:r>
              <a:rPr lang="en-US" altLang="pt-PT"/>
              <a:t>Third level</a:t>
            </a:r>
          </a:p>
          <a:p>
            <a:pPr lvl="3"/>
            <a:r>
              <a:rPr lang="en-US" altLang="pt-PT"/>
              <a:t>Fourth level</a:t>
            </a:r>
          </a:p>
          <a:p>
            <a:pPr lvl="4"/>
            <a:r>
              <a:rPr lang="en-US" altLang="pt-P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8200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009900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rgbClr val="009900"/>
          </a:solidFill>
          <a:latin typeface="Century Gothic" pitchFamily="-107" charset="0"/>
        </a:defRPr>
      </a:lvl9pPr>
    </p:titleStyle>
    <p:bodyStyle>
      <a:lvl1pPr marL="342900" indent="-342900" algn="l" rtl="0" eaLnBrk="0" fontAlgn="base" hangingPunct="0">
        <a:spcBef>
          <a:spcPts val="600"/>
        </a:spcBef>
        <a:spcAft>
          <a:spcPct val="0"/>
        </a:spcAft>
        <a:buFont typeface="Arial" pitchFamily="34" charset="0"/>
        <a:buChar char="•"/>
        <a:defRPr sz="2800" b="1" kern="1200">
          <a:solidFill>
            <a:srgbClr val="404040"/>
          </a:solidFill>
          <a:latin typeface="Century Gothic" pitchFamily="34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400" kern="1200">
          <a:solidFill>
            <a:srgbClr val="404040"/>
          </a:solidFill>
          <a:latin typeface="Century Gothic" pitchFamily="34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404040"/>
          </a:solidFill>
          <a:latin typeface="Century Gothic" pitchFamily="34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404040"/>
          </a:solidFill>
          <a:latin typeface="Century Gothic" pitchFamily="34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rgbClr val="404040"/>
          </a:solidFill>
          <a:latin typeface="Century Gothic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image" Target="../media/image19.png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notesSlide" Target="../notesSlides/notesSlide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slideLayout" Target="../slideLayouts/slideLayout2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467544" y="1412776"/>
            <a:ext cx="84249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Cambria" pitchFamily="18" charset="0"/>
              </a:rPr>
              <a:t>When Erasmus students love the </a:t>
            </a:r>
          </a:p>
          <a:p>
            <a:pPr algn="ctr"/>
            <a:r>
              <a:rPr lang="en-US" sz="3600" dirty="0">
                <a:solidFill>
                  <a:schemeClr val="bg1"/>
                </a:solidFill>
                <a:latin typeface="Cambria" pitchFamily="18" charset="0"/>
              </a:rPr>
              <a:t>countries where they studied:</a:t>
            </a:r>
          </a:p>
          <a:p>
            <a:pPr algn="ctr"/>
            <a:r>
              <a:rPr lang="en-US" sz="3600" dirty="0">
                <a:solidFill>
                  <a:schemeClr val="bg1"/>
                </a:solidFill>
                <a:latin typeface="Cambria" pitchFamily="18" charset="0"/>
              </a:rPr>
              <a:t> Exploring the antecedents and </a:t>
            </a:r>
          </a:p>
          <a:p>
            <a:pPr algn="ctr"/>
            <a:r>
              <a:rPr lang="en-US" sz="3600" dirty="0">
                <a:solidFill>
                  <a:schemeClr val="bg1"/>
                </a:solidFill>
                <a:latin typeface="Cambria" pitchFamily="18" charset="0"/>
              </a:rPr>
              <a:t>outcomes of Country Brand Lov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395536" y="3985900"/>
            <a:ext cx="8208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800" dirty="0">
                <a:solidFill>
                  <a:schemeClr val="bg1"/>
                </a:solidFill>
                <a:latin typeface="Cambria" pitchFamily="18" charset="0"/>
              </a:rPr>
              <a:t>Suzanne Amaro, Cristina Barroco &amp; Joaquim Antunes</a:t>
            </a:r>
          </a:p>
        </p:txBody>
      </p:sp>
      <p:cxnSp>
        <p:nvCxnSpPr>
          <p:cNvPr id="4" name="Conexão recta 3"/>
          <p:cNvCxnSpPr/>
          <p:nvPr/>
        </p:nvCxnSpPr>
        <p:spPr>
          <a:xfrm>
            <a:off x="323528" y="1412776"/>
            <a:ext cx="842493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xão recta 11"/>
          <p:cNvCxnSpPr/>
          <p:nvPr/>
        </p:nvCxnSpPr>
        <p:spPr>
          <a:xfrm>
            <a:off x="323528" y="3861048"/>
            <a:ext cx="8424936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 descr="C:\Users\Admin\Dropbox\Conferências\logos (3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307" y="5813196"/>
            <a:ext cx="2123271" cy="957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5736" y="5659885"/>
            <a:ext cx="4427984" cy="1198115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24897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Methodology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70897" y="1391302"/>
            <a:ext cx="9341267" cy="2737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ângulo 14">
            <a:extLst>
              <a:ext uri="{FF2B5EF4-FFF2-40B4-BE49-F238E27FC236}">
                <a16:creationId xmlns:a16="http://schemas.microsoft.com/office/drawing/2014/main" id="{A7C404B7-328B-4F31-83A7-8F0451E23DC2}"/>
              </a:ext>
            </a:extLst>
          </p:cNvPr>
          <p:cNvSpPr/>
          <p:nvPr/>
        </p:nvSpPr>
        <p:spPr>
          <a:xfrm>
            <a:off x="179444" y="839581"/>
            <a:ext cx="8568952" cy="461665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Online Questionnaire | May –August 2018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AA86-77FA-4EE2-A486-63B1E14AB9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rgbClr val="820000"/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2805A3-EDAE-4D75-BE2A-782CF66BC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81DA7331-BE3E-4354-BB2D-DEE2D8FAD7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887DDC6C-06CE-4194-965F-30DB5BCAB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CFF0A4AE-36A6-4797-8BC4-6979129B6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D93CBA49-452B-47D1-B6BB-E44411597D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6" name="Rectângulo 14">
            <a:extLst>
              <a:ext uri="{FF2B5EF4-FFF2-40B4-BE49-F238E27FC236}">
                <a16:creationId xmlns:a16="http://schemas.microsoft.com/office/drawing/2014/main" id="{E5E04A1E-6989-44E6-B129-FCC20948E967}"/>
              </a:ext>
            </a:extLst>
          </p:cNvPr>
          <p:cNvSpPr/>
          <p:nvPr/>
        </p:nvSpPr>
        <p:spPr>
          <a:xfrm>
            <a:off x="285251" y="4299204"/>
            <a:ext cx="8568952" cy="461665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Data Analysis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1B9A3B4A-64CC-46A8-B238-BA5D808F5865}"/>
              </a:ext>
            </a:extLst>
          </p:cNvPr>
          <p:cNvSpPr/>
          <p:nvPr/>
        </p:nvSpPr>
        <p:spPr>
          <a:xfrm>
            <a:off x="481819" y="5051199"/>
            <a:ext cx="74168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2400" dirty="0">
                <a:latin typeface="Cambria" panose="02040503050406030204" pitchFamily="18" charset="0"/>
                <a:ea typeface="Cambria" panose="02040503050406030204" pitchFamily="18" charset="0"/>
              </a:rPr>
              <a:t>Partial Least Squares Equation Modelling (PLS-SEM) was used to test the proposed hypotheses.</a:t>
            </a:r>
            <a:endParaRPr lang="pt-PT" sz="24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14702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Results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1112819C-4761-46D4-B8D4-CA7DD9AA5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087BDEBD-2FF9-4E7F-8EC1-80AE1DE90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BF6CE7A-E2C7-4E5B-A912-573C74720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BDCB4062-E24F-4FF4-830D-2D21CE39B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2B4A6F3E-E2E2-4C2E-A297-6B813C2CA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603067AE-8A08-45F3-AC3E-2655D60AC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6" name="Rectângulo 12">
            <a:extLst>
              <a:ext uri="{FF2B5EF4-FFF2-40B4-BE49-F238E27FC236}">
                <a16:creationId xmlns:a16="http://schemas.microsoft.com/office/drawing/2014/main" id="{C62A0DDB-3728-4E4E-97F1-7C716E966FC3}"/>
              </a:ext>
            </a:extLst>
          </p:cNvPr>
          <p:cNvSpPr/>
          <p:nvPr/>
        </p:nvSpPr>
        <p:spPr>
          <a:xfrm>
            <a:off x="467544" y="1052736"/>
            <a:ext cx="8280920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Cambria" pitchFamily="18" charset="0"/>
              </a:rPr>
              <a:t>5,511 valid responses</a:t>
            </a:r>
            <a:endParaRPr lang="en-US" dirty="0">
              <a:latin typeface="Cambria" pitchFamily="18" charset="0"/>
            </a:endParaRPr>
          </a:p>
        </p:txBody>
      </p:sp>
      <p:sp>
        <p:nvSpPr>
          <p:cNvPr id="17" name="Rectângulo 13">
            <a:extLst>
              <a:ext uri="{FF2B5EF4-FFF2-40B4-BE49-F238E27FC236}">
                <a16:creationId xmlns:a16="http://schemas.microsoft.com/office/drawing/2014/main" id="{0E5B4D77-62AE-4BD3-A106-767CD74A929E}"/>
              </a:ext>
            </a:extLst>
          </p:cNvPr>
          <p:cNvSpPr/>
          <p:nvPr/>
        </p:nvSpPr>
        <p:spPr>
          <a:xfrm>
            <a:off x="611560" y="2996952"/>
            <a:ext cx="8280920" cy="523220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latin typeface="Cambria" pitchFamily="18" charset="0"/>
              </a:rPr>
              <a:t>95 countries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95B34C76-E323-49FE-B763-8EE13FB16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9" cstate="print"/>
          <a:srcRect/>
          <a:stretch>
            <a:fillRect/>
          </a:stretch>
        </p:blipFill>
        <p:spPr bwMode="auto">
          <a:xfrm>
            <a:off x="3203848" y="1628800"/>
            <a:ext cx="2486025" cy="113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ângulo 14">
            <a:extLst>
              <a:ext uri="{FF2B5EF4-FFF2-40B4-BE49-F238E27FC236}">
                <a16:creationId xmlns:a16="http://schemas.microsoft.com/office/drawing/2014/main" id="{9FBDCB52-9BDF-433C-8D05-4B3C83A8B394}"/>
              </a:ext>
            </a:extLst>
          </p:cNvPr>
          <p:cNvSpPr/>
          <p:nvPr/>
        </p:nvSpPr>
        <p:spPr>
          <a:xfrm>
            <a:off x="2339752" y="1916832"/>
            <a:ext cx="10081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dirty="0">
                <a:solidFill>
                  <a:prstClr val="black"/>
                </a:solidFill>
              </a:rPr>
              <a:t>30%</a:t>
            </a:r>
            <a:endParaRPr lang="pt-PT" dirty="0">
              <a:solidFill>
                <a:prstClr val="black"/>
              </a:solidFill>
            </a:endParaRPr>
          </a:p>
        </p:txBody>
      </p:sp>
      <p:sp>
        <p:nvSpPr>
          <p:cNvPr id="20" name="Rectângulo 16">
            <a:extLst>
              <a:ext uri="{FF2B5EF4-FFF2-40B4-BE49-F238E27FC236}">
                <a16:creationId xmlns:a16="http://schemas.microsoft.com/office/drawing/2014/main" id="{BE2B75C2-D23C-41B4-B184-3DF7B439D41A}"/>
              </a:ext>
            </a:extLst>
          </p:cNvPr>
          <p:cNvSpPr/>
          <p:nvPr/>
        </p:nvSpPr>
        <p:spPr>
          <a:xfrm>
            <a:off x="5652120" y="1916832"/>
            <a:ext cx="9361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400" dirty="0">
                <a:solidFill>
                  <a:prstClr val="black"/>
                </a:solidFill>
              </a:rPr>
              <a:t>70%</a:t>
            </a:r>
            <a:endParaRPr lang="pt-PT" dirty="0">
              <a:solidFill>
                <a:prstClr val="black"/>
              </a:solidFill>
            </a:endParaRPr>
          </a:p>
        </p:txBody>
      </p: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058AABF6-6123-4332-B4F9-161B18CD74DB}"/>
              </a:ext>
            </a:extLst>
          </p:cNvPr>
          <p:cNvGrpSpPr/>
          <p:nvPr/>
        </p:nvGrpSpPr>
        <p:grpSpPr>
          <a:xfrm>
            <a:off x="284298" y="3709004"/>
            <a:ext cx="3704815" cy="2085657"/>
            <a:chOff x="2660562" y="3573016"/>
            <a:chExt cx="3704815" cy="2085657"/>
          </a:xfrm>
        </p:grpSpPr>
        <p:grpSp>
          <p:nvGrpSpPr>
            <p:cNvPr id="22" name="Grupo 17">
              <a:extLst>
                <a:ext uri="{FF2B5EF4-FFF2-40B4-BE49-F238E27FC236}">
                  <a16:creationId xmlns:a16="http://schemas.microsoft.com/office/drawing/2014/main" id="{0D2E02A5-4099-4593-9AF7-3139B20F8333}"/>
                </a:ext>
              </a:extLst>
            </p:cNvPr>
            <p:cNvGrpSpPr/>
            <p:nvPr/>
          </p:nvGrpSpPr>
          <p:grpSpPr>
            <a:xfrm>
              <a:off x="2843808" y="3573016"/>
              <a:ext cx="3521569" cy="2085657"/>
              <a:chOff x="2202559" y="2783502"/>
              <a:chExt cx="3521569" cy="2085657"/>
            </a:xfrm>
          </p:grpSpPr>
          <p:grpSp>
            <p:nvGrpSpPr>
              <p:cNvPr id="27" name="Group 117">
                <a:extLst>
                  <a:ext uri="{FF2B5EF4-FFF2-40B4-BE49-F238E27FC236}">
                    <a16:creationId xmlns:a16="http://schemas.microsoft.com/office/drawing/2014/main" id="{CCD4596A-E996-469D-9B44-972CDDE6E20C}"/>
                  </a:ext>
                </a:extLst>
              </p:cNvPr>
              <p:cNvGrpSpPr>
                <a:grpSpLocks/>
              </p:cNvGrpSpPr>
              <p:nvPr>
                <p:custDataLst>
                  <p:tags r:id="rId44"/>
                </p:custDataLst>
              </p:nvPr>
            </p:nvGrpSpPr>
            <p:grpSpPr bwMode="auto">
              <a:xfrm>
                <a:off x="5006876" y="4298170"/>
                <a:ext cx="63499" cy="533788"/>
                <a:chOff x="3950" y="2430"/>
                <a:chExt cx="36" cy="234"/>
              </a:xfrm>
            </p:grpSpPr>
            <p:sp>
              <p:nvSpPr>
                <p:cNvPr id="75" name="Freeform 118">
                  <a:extLst>
                    <a:ext uri="{FF2B5EF4-FFF2-40B4-BE49-F238E27FC236}">
                      <a16:creationId xmlns:a16="http://schemas.microsoft.com/office/drawing/2014/main" id="{78880F72-F15B-4BEA-9674-C153D6B978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6 h 20"/>
                    <a:gd name="T4" fmla="*/ 6 w 19"/>
                    <a:gd name="T5" fmla="*/ 4 h 20"/>
                    <a:gd name="T6" fmla="*/ 4 w 19"/>
                    <a:gd name="T7" fmla="*/ 2 h 20"/>
                    <a:gd name="T8" fmla="*/ 3 w 19"/>
                    <a:gd name="T9" fmla="*/ 1 h 20"/>
                    <a:gd name="T10" fmla="*/ 1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6" name="Freeform 119">
                  <a:extLst>
                    <a:ext uri="{FF2B5EF4-FFF2-40B4-BE49-F238E27FC236}">
                      <a16:creationId xmlns:a16="http://schemas.microsoft.com/office/drawing/2014/main" id="{D07B83FE-AAFF-4986-B6D8-32563290BF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4 w 19"/>
                    <a:gd name="T1" fmla="*/ 4 h 12"/>
                    <a:gd name="T2" fmla="*/ 6 w 19"/>
                    <a:gd name="T3" fmla="*/ 0 h 12"/>
                    <a:gd name="T4" fmla="*/ 0 w 19"/>
                    <a:gd name="T5" fmla="*/ 0 h 12"/>
                    <a:gd name="T6" fmla="*/ 4 w 19"/>
                    <a:gd name="T7" fmla="*/ 4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7" name="Freeform 120">
                  <a:extLst>
                    <a:ext uri="{FF2B5EF4-FFF2-40B4-BE49-F238E27FC236}">
                      <a16:creationId xmlns:a16="http://schemas.microsoft.com/office/drawing/2014/main" id="{8A36921E-A90D-47C6-9C1A-8D54EF262D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3 w 19"/>
                    <a:gd name="T3" fmla="*/ 0 h 1"/>
                    <a:gd name="T4" fmla="*/ 6 w 19"/>
                    <a:gd name="T5" fmla="*/ 0 h 1"/>
                    <a:gd name="T6" fmla="*/ 3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8" name="Rectangle 121">
                  <a:extLst>
                    <a:ext uri="{FF2B5EF4-FFF2-40B4-BE49-F238E27FC236}">
                      <a16:creationId xmlns:a16="http://schemas.microsoft.com/office/drawing/2014/main" id="{260D581F-E4CA-4D50-A488-8C4F86D1C5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9" name="Line 122">
                  <a:extLst>
                    <a:ext uri="{FF2B5EF4-FFF2-40B4-BE49-F238E27FC236}">
                      <a16:creationId xmlns:a16="http://schemas.microsoft.com/office/drawing/2014/main" id="{87411516-441F-4DFA-920E-C32A3C3DC2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0" name="Freeform 123">
                  <a:extLst>
                    <a:ext uri="{FF2B5EF4-FFF2-40B4-BE49-F238E27FC236}">
                      <a16:creationId xmlns:a16="http://schemas.microsoft.com/office/drawing/2014/main" id="{BCDB6DEC-15D1-4405-874A-6623E35045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2 w 6"/>
                    <a:gd name="T1" fmla="*/ 0 h 3"/>
                    <a:gd name="T2" fmla="*/ 2 w 6"/>
                    <a:gd name="T3" fmla="*/ 0 h 3"/>
                    <a:gd name="T4" fmla="*/ 1 w 6"/>
                    <a:gd name="T5" fmla="*/ 1 h 3"/>
                    <a:gd name="T6" fmla="*/ 0 w 6"/>
                    <a:gd name="T7" fmla="*/ 1 h 3"/>
                    <a:gd name="T8" fmla="*/ 0 w 6"/>
                    <a:gd name="T9" fmla="*/ 1 h 3"/>
                    <a:gd name="T10" fmla="*/ 0 w 6"/>
                    <a:gd name="T11" fmla="*/ 1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1" name="Freeform 124">
                  <a:extLst>
                    <a:ext uri="{FF2B5EF4-FFF2-40B4-BE49-F238E27FC236}">
                      <a16:creationId xmlns:a16="http://schemas.microsoft.com/office/drawing/2014/main" id="{A337458C-234C-4C37-A8E3-D03EC3A30F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5 w 14"/>
                    <a:gd name="T1" fmla="*/ 0 h 24"/>
                    <a:gd name="T2" fmla="*/ 5 w 14"/>
                    <a:gd name="T3" fmla="*/ 2 h 24"/>
                    <a:gd name="T4" fmla="*/ 3 w 14"/>
                    <a:gd name="T5" fmla="*/ 4 h 24"/>
                    <a:gd name="T6" fmla="*/ 2 w 14"/>
                    <a:gd name="T7" fmla="*/ 6 h 24"/>
                    <a:gd name="T8" fmla="*/ 0 w 14"/>
                    <a:gd name="T9" fmla="*/ 8 h 24"/>
                    <a:gd name="T10" fmla="*/ 0 w 14"/>
                    <a:gd name="T11" fmla="*/ 5 h 24"/>
                    <a:gd name="T12" fmla="*/ 0 w 14"/>
                    <a:gd name="T13" fmla="*/ 4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2" name="Line 125">
                  <a:extLst>
                    <a:ext uri="{FF2B5EF4-FFF2-40B4-BE49-F238E27FC236}">
                      <a16:creationId xmlns:a16="http://schemas.microsoft.com/office/drawing/2014/main" id="{E369A0D6-BB2F-49C4-A7A0-ED0C1989EEF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3" name="Freeform 126">
                  <a:extLst>
                    <a:ext uri="{FF2B5EF4-FFF2-40B4-BE49-F238E27FC236}">
                      <a16:creationId xmlns:a16="http://schemas.microsoft.com/office/drawing/2014/main" id="{CEDFD3F7-32EA-45AA-92C9-055DD9892D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4 w 13"/>
                    <a:gd name="T1" fmla="*/ 3 h 12"/>
                    <a:gd name="T2" fmla="*/ 0 w 13"/>
                    <a:gd name="T3" fmla="*/ 0 h 12"/>
                    <a:gd name="T4" fmla="*/ 4 w 13"/>
                    <a:gd name="T5" fmla="*/ 3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4" name="Freeform 127">
                  <a:extLst>
                    <a:ext uri="{FF2B5EF4-FFF2-40B4-BE49-F238E27FC236}">
                      <a16:creationId xmlns:a16="http://schemas.microsoft.com/office/drawing/2014/main" id="{BF7F767F-E1C2-4B48-8301-FAC93FF05F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6 h 19"/>
                    <a:gd name="T4" fmla="*/ 0 w 7"/>
                    <a:gd name="T5" fmla="*/ 0 h 19"/>
                    <a:gd name="T6" fmla="*/ 2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5" name="Line 128">
                  <a:extLst>
                    <a:ext uri="{FF2B5EF4-FFF2-40B4-BE49-F238E27FC236}">
                      <a16:creationId xmlns:a16="http://schemas.microsoft.com/office/drawing/2014/main" id="{49FEFEC1-54E8-4CAB-A90F-AE2E99D7A1F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6" name="Freeform 129">
                  <a:extLst>
                    <a:ext uri="{FF2B5EF4-FFF2-40B4-BE49-F238E27FC236}">
                      <a16:creationId xmlns:a16="http://schemas.microsoft.com/office/drawing/2014/main" id="{780E536E-D9F4-48DA-B8BE-E677454EEE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6 h 18"/>
                    <a:gd name="T2" fmla="*/ 2 w 8"/>
                    <a:gd name="T3" fmla="*/ 2 h 18"/>
                    <a:gd name="T4" fmla="*/ 0 w 8"/>
                    <a:gd name="T5" fmla="*/ 0 h 18"/>
                    <a:gd name="T6" fmla="*/ 0 w 8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7" name="Freeform 130">
                  <a:extLst>
                    <a:ext uri="{FF2B5EF4-FFF2-40B4-BE49-F238E27FC236}">
                      <a16:creationId xmlns:a16="http://schemas.microsoft.com/office/drawing/2014/main" id="{A9886E26-BBF3-4C5E-9B00-3BF5B5B20F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7 h 19"/>
                    <a:gd name="T4" fmla="*/ 2 w 6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8" name="Freeform 131">
                  <a:extLst>
                    <a:ext uri="{FF2B5EF4-FFF2-40B4-BE49-F238E27FC236}">
                      <a16:creationId xmlns:a16="http://schemas.microsoft.com/office/drawing/2014/main" id="{B2A8781F-5135-4D9F-BCDF-F99A625410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5 h 19"/>
                    <a:gd name="T4" fmla="*/ 10 w 28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89" name="Freeform 132">
                  <a:extLst>
                    <a:ext uri="{FF2B5EF4-FFF2-40B4-BE49-F238E27FC236}">
                      <a16:creationId xmlns:a16="http://schemas.microsoft.com/office/drawing/2014/main" id="{21F92E64-23BD-4EAA-80EA-992D2B5324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5 w 15"/>
                    <a:gd name="T1" fmla="*/ 5 h 19"/>
                    <a:gd name="T2" fmla="*/ 3 w 15"/>
                    <a:gd name="T3" fmla="*/ 2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0" name="Freeform 133">
                  <a:extLst>
                    <a:ext uri="{FF2B5EF4-FFF2-40B4-BE49-F238E27FC236}">
                      <a16:creationId xmlns:a16="http://schemas.microsoft.com/office/drawing/2014/main" id="{F85C3851-5E28-44F3-8345-FAB045A968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6 h 20"/>
                    <a:gd name="T4" fmla="*/ 6 w 19"/>
                    <a:gd name="T5" fmla="*/ 4 h 20"/>
                    <a:gd name="T6" fmla="*/ 4 w 19"/>
                    <a:gd name="T7" fmla="*/ 2 h 20"/>
                    <a:gd name="T8" fmla="*/ 3 w 19"/>
                    <a:gd name="T9" fmla="*/ 1 h 20"/>
                    <a:gd name="T10" fmla="*/ 1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1" name="Freeform 134">
                  <a:extLst>
                    <a:ext uri="{FF2B5EF4-FFF2-40B4-BE49-F238E27FC236}">
                      <a16:creationId xmlns:a16="http://schemas.microsoft.com/office/drawing/2014/main" id="{F710E5D7-F7F6-4FC8-8BDC-7B56C481B3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4 w 19"/>
                    <a:gd name="T1" fmla="*/ 4 h 12"/>
                    <a:gd name="T2" fmla="*/ 6 w 19"/>
                    <a:gd name="T3" fmla="*/ 0 h 12"/>
                    <a:gd name="T4" fmla="*/ 0 w 19"/>
                    <a:gd name="T5" fmla="*/ 0 h 12"/>
                    <a:gd name="T6" fmla="*/ 4 w 19"/>
                    <a:gd name="T7" fmla="*/ 4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2" name="Freeform 135">
                  <a:extLst>
                    <a:ext uri="{FF2B5EF4-FFF2-40B4-BE49-F238E27FC236}">
                      <a16:creationId xmlns:a16="http://schemas.microsoft.com/office/drawing/2014/main" id="{C40A6074-5414-4EE7-8922-6E020C58AD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3 w 19"/>
                    <a:gd name="T3" fmla="*/ 0 h 1"/>
                    <a:gd name="T4" fmla="*/ 6 w 19"/>
                    <a:gd name="T5" fmla="*/ 0 h 1"/>
                    <a:gd name="T6" fmla="*/ 3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3" name="Rectangle 136">
                  <a:extLst>
                    <a:ext uri="{FF2B5EF4-FFF2-40B4-BE49-F238E27FC236}">
                      <a16:creationId xmlns:a16="http://schemas.microsoft.com/office/drawing/2014/main" id="{7029FBB6-E37E-47DD-BBC8-FD6BA1E456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4" name="Line 137">
                  <a:extLst>
                    <a:ext uri="{FF2B5EF4-FFF2-40B4-BE49-F238E27FC236}">
                      <a16:creationId xmlns:a16="http://schemas.microsoft.com/office/drawing/2014/main" id="{809DCFC6-A22A-4B1D-A9B3-8200467035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5" name="Freeform 138">
                  <a:extLst>
                    <a:ext uri="{FF2B5EF4-FFF2-40B4-BE49-F238E27FC236}">
                      <a16:creationId xmlns:a16="http://schemas.microsoft.com/office/drawing/2014/main" id="{F237AF2F-B355-411C-AB06-FA2037E9C3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2 w 6"/>
                    <a:gd name="T1" fmla="*/ 0 h 3"/>
                    <a:gd name="T2" fmla="*/ 2 w 6"/>
                    <a:gd name="T3" fmla="*/ 0 h 3"/>
                    <a:gd name="T4" fmla="*/ 1 w 6"/>
                    <a:gd name="T5" fmla="*/ 1 h 3"/>
                    <a:gd name="T6" fmla="*/ 0 w 6"/>
                    <a:gd name="T7" fmla="*/ 1 h 3"/>
                    <a:gd name="T8" fmla="*/ 0 w 6"/>
                    <a:gd name="T9" fmla="*/ 1 h 3"/>
                    <a:gd name="T10" fmla="*/ 0 w 6"/>
                    <a:gd name="T11" fmla="*/ 1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6" name="Freeform 139">
                  <a:extLst>
                    <a:ext uri="{FF2B5EF4-FFF2-40B4-BE49-F238E27FC236}">
                      <a16:creationId xmlns:a16="http://schemas.microsoft.com/office/drawing/2014/main" id="{8D35678E-90E9-4471-B4A3-F2E85F206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5 w 14"/>
                    <a:gd name="T1" fmla="*/ 0 h 24"/>
                    <a:gd name="T2" fmla="*/ 5 w 14"/>
                    <a:gd name="T3" fmla="*/ 2 h 24"/>
                    <a:gd name="T4" fmla="*/ 3 w 14"/>
                    <a:gd name="T5" fmla="*/ 4 h 24"/>
                    <a:gd name="T6" fmla="*/ 2 w 14"/>
                    <a:gd name="T7" fmla="*/ 6 h 24"/>
                    <a:gd name="T8" fmla="*/ 0 w 14"/>
                    <a:gd name="T9" fmla="*/ 8 h 24"/>
                    <a:gd name="T10" fmla="*/ 0 w 14"/>
                    <a:gd name="T11" fmla="*/ 5 h 24"/>
                    <a:gd name="T12" fmla="*/ 0 w 14"/>
                    <a:gd name="T13" fmla="*/ 4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7" name="Line 140">
                  <a:extLst>
                    <a:ext uri="{FF2B5EF4-FFF2-40B4-BE49-F238E27FC236}">
                      <a16:creationId xmlns:a16="http://schemas.microsoft.com/office/drawing/2014/main" id="{637DA64A-9947-47BE-9DA2-54D8030FCC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8" name="Freeform 141">
                  <a:extLst>
                    <a:ext uri="{FF2B5EF4-FFF2-40B4-BE49-F238E27FC236}">
                      <a16:creationId xmlns:a16="http://schemas.microsoft.com/office/drawing/2014/main" id="{1CAD8C12-FED7-4622-A7DC-3127DCA180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4 w 13"/>
                    <a:gd name="T1" fmla="*/ 3 h 12"/>
                    <a:gd name="T2" fmla="*/ 0 w 13"/>
                    <a:gd name="T3" fmla="*/ 0 h 12"/>
                    <a:gd name="T4" fmla="*/ 4 w 13"/>
                    <a:gd name="T5" fmla="*/ 3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9" name="Freeform 142">
                  <a:extLst>
                    <a:ext uri="{FF2B5EF4-FFF2-40B4-BE49-F238E27FC236}">
                      <a16:creationId xmlns:a16="http://schemas.microsoft.com/office/drawing/2014/main" id="{F5677F25-4976-4D4C-B21B-F67ED76AA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6 h 19"/>
                    <a:gd name="T4" fmla="*/ 0 w 7"/>
                    <a:gd name="T5" fmla="*/ 0 h 19"/>
                    <a:gd name="T6" fmla="*/ 2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0" name="Line 143">
                  <a:extLst>
                    <a:ext uri="{FF2B5EF4-FFF2-40B4-BE49-F238E27FC236}">
                      <a16:creationId xmlns:a16="http://schemas.microsoft.com/office/drawing/2014/main" id="{5C7396B4-7B65-424F-9153-99DFC0EFB33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1" name="Freeform 144">
                  <a:extLst>
                    <a:ext uri="{FF2B5EF4-FFF2-40B4-BE49-F238E27FC236}">
                      <a16:creationId xmlns:a16="http://schemas.microsoft.com/office/drawing/2014/main" id="{AAB9C60C-E038-4C6C-9E38-52E91B83C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6 h 18"/>
                    <a:gd name="T2" fmla="*/ 2 w 8"/>
                    <a:gd name="T3" fmla="*/ 2 h 18"/>
                    <a:gd name="T4" fmla="*/ 0 w 8"/>
                    <a:gd name="T5" fmla="*/ 0 h 18"/>
                    <a:gd name="T6" fmla="*/ 0 w 8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2" name="Freeform 145">
                  <a:extLst>
                    <a:ext uri="{FF2B5EF4-FFF2-40B4-BE49-F238E27FC236}">
                      <a16:creationId xmlns:a16="http://schemas.microsoft.com/office/drawing/2014/main" id="{9433AF14-E8A7-4435-8852-1A01D00D7D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7 h 19"/>
                    <a:gd name="T4" fmla="*/ 2 w 6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3" name="Freeform 146">
                  <a:extLst>
                    <a:ext uri="{FF2B5EF4-FFF2-40B4-BE49-F238E27FC236}">
                      <a16:creationId xmlns:a16="http://schemas.microsoft.com/office/drawing/2014/main" id="{2CC3149D-7925-4364-A12B-3231825170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5 h 19"/>
                    <a:gd name="T4" fmla="*/ 10 w 28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4" name="Freeform 147">
                  <a:extLst>
                    <a:ext uri="{FF2B5EF4-FFF2-40B4-BE49-F238E27FC236}">
                      <a16:creationId xmlns:a16="http://schemas.microsoft.com/office/drawing/2014/main" id="{B1376A53-1223-424B-8D76-1F9A98B74E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5 w 15"/>
                    <a:gd name="T1" fmla="*/ 5 h 19"/>
                    <a:gd name="T2" fmla="*/ 3 w 15"/>
                    <a:gd name="T3" fmla="*/ 2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" name="Freeform 148">
                  <a:extLst>
                    <a:ext uri="{FF2B5EF4-FFF2-40B4-BE49-F238E27FC236}">
                      <a16:creationId xmlns:a16="http://schemas.microsoft.com/office/drawing/2014/main" id="{987345C5-767C-4235-9242-F3386FDB66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5 w 20"/>
                    <a:gd name="T1" fmla="*/ 6 h 18"/>
                    <a:gd name="T2" fmla="*/ 7 w 20"/>
                    <a:gd name="T3" fmla="*/ 0 h 18"/>
                    <a:gd name="T4" fmla="*/ 0 w 20"/>
                    <a:gd name="T5" fmla="*/ 0 h 18"/>
                    <a:gd name="T6" fmla="*/ 5 w 20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8" name="Freeform 11">
                <a:extLst>
                  <a:ext uri="{FF2B5EF4-FFF2-40B4-BE49-F238E27FC236}">
                    <a16:creationId xmlns:a16="http://schemas.microsoft.com/office/drawing/2014/main" id="{C99CADE1-2286-4EC0-9D09-D43A34E2CA58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222768" y="4182217"/>
                <a:ext cx="262728" cy="417957"/>
              </a:xfrm>
              <a:custGeom>
                <a:avLst/>
                <a:gdLst>
                  <a:gd name="T0" fmla="*/ 16338 w 192"/>
                  <a:gd name="T1" fmla="*/ 1567 h 307"/>
                  <a:gd name="T2" fmla="*/ 15908 w 192"/>
                  <a:gd name="T3" fmla="*/ 0 h 307"/>
                  <a:gd name="T4" fmla="*/ 24507 w 192"/>
                  <a:gd name="T5" fmla="*/ 1567 h 307"/>
                  <a:gd name="T6" fmla="*/ 47294 w 192"/>
                  <a:gd name="T7" fmla="*/ 7312 h 307"/>
                  <a:gd name="T8" fmla="*/ 66642 w 192"/>
                  <a:gd name="T9" fmla="*/ 13057 h 307"/>
                  <a:gd name="T10" fmla="*/ 77821 w 192"/>
                  <a:gd name="T11" fmla="*/ 14624 h 307"/>
                  <a:gd name="T12" fmla="*/ 82550 w 192"/>
                  <a:gd name="T13" fmla="*/ 18279 h 307"/>
                  <a:gd name="T14" fmla="*/ 80830 w 192"/>
                  <a:gd name="T15" fmla="*/ 24547 h 307"/>
                  <a:gd name="T16" fmla="*/ 75241 w 192"/>
                  <a:gd name="T17" fmla="*/ 42826 h 307"/>
                  <a:gd name="T18" fmla="*/ 67932 w 192"/>
                  <a:gd name="T19" fmla="*/ 66328 h 307"/>
                  <a:gd name="T20" fmla="*/ 63202 w 192"/>
                  <a:gd name="T21" fmla="*/ 86175 h 307"/>
                  <a:gd name="T22" fmla="*/ 62772 w 192"/>
                  <a:gd name="T23" fmla="*/ 108110 h 307"/>
                  <a:gd name="T24" fmla="*/ 61913 w 192"/>
                  <a:gd name="T25" fmla="*/ 130045 h 307"/>
                  <a:gd name="T26" fmla="*/ 57613 w 192"/>
                  <a:gd name="T27" fmla="*/ 144669 h 307"/>
                  <a:gd name="T28" fmla="*/ 45574 w 192"/>
                  <a:gd name="T29" fmla="*/ 154592 h 307"/>
                  <a:gd name="T30" fmla="*/ 35686 w 192"/>
                  <a:gd name="T31" fmla="*/ 158248 h 307"/>
                  <a:gd name="T32" fmla="*/ 30956 w 192"/>
                  <a:gd name="T33" fmla="*/ 160337 h 307"/>
                  <a:gd name="T34" fmla="*/ 22357 w 192"/>
                  <a:gd name="T35" fmla="*/ 159292 h 307"/>
                  <a:gd name="T36" fmla="*/ 13758 w 192"/>
                  <a:gd name="T37" fmla="*/ 151981 h 307"/>
                  <a:gd name="T38" fmla="*/ 12898 w 192"/>
                  <a:gd name="T39" fmla="*/ 144669 h 307"/>
                  <a:gd name="T40" fmla="*/ 9459 w 192"/>
                  <a:gd name="T41" fmla="*/ 134223 h 307"/>
                  <a:gd name="T42" fmla="*/ 4299 w 192"/>
                  <a:gd name="T43" fmla="*/ 120644 h 307"/>
                  <a:gd name="T44" fmla="*/ 860 w 192"/>
                  <a:gd name="T45" fmla="*/ 110199 h 307"/>
                  <a:gd name="T46" fmla="*/ 0 w 192"/>
                  <a:gd name="T47" fmla="*/ 102887 h 307"/>
                  <a:gd name="T48" fmla="*/ 0 w 192"/>
                  <a:gd name="T49" fmla="*/ 94009 h 307"/>
                  <a:gd name="T50" fmla="*/ 860 w 192"/>
                  <a:gd name="T51" fmla="*/ 86175 h 307"/>
                  <a:gd name="T52" fmla="*/ 4729 w 192"/>
                  <a:gd name="T53" fmla="*/ 75729 h 307"/>
                  <a:gd name="T54" fmla="*/ 14188 w 192"/>
                  <a:gd name="T55" fmla="*/ 56927 h 307"/>
                  <a:gd name="T56" fmla="*/ 20638 w 192"/>
                  <a:gd name="T57" fmla="*/ 42304 h 307"/>
                  <a:gd name="T58" fmla="*/ 22357 w 192"/>
                  <a:gd name="T59" fmla="*/ 32381 h 307"/>
                  <a:gd name="T60" fmla="*/ 22787 w 192"/>
                  <a:gd name="T61" fmla="*/ 21413 h 307"/>
                  <a:gd name="T62" fmla="*/ 23647 w 192"/>
                  <a:gd name="T63" fmla="*/ 15668 h 307"/>
                  <a:gd name="T64" fmla="*/ 24507 w 192"/>
                  <a:gd name="T65" fmla="*/ 13579 h 307"/>
                  <a:gd name="T66" fmla="*/ 25797 w 192"/>
                  <a:gd name="T67" fmla="*/ 11490 h 307"/>
                  <a:gd name="T68" fmla="*/ 18918 w 192"/>
                  <a:gd name="T69" fmla="*/ 3656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1934BE2-246E-47DA-9C3B-6D6C02DEB3E0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2480445" y="2841438"/>
                <a:ext cx="545667" cy="703496"/>
              </a:xfrm>
              <a:custGeom>
                <a:avLst/>
                <a:gdLst>
                  <a:gd name="T0" fmla="*/ 11200 w 398"/>
                  <a:gd name="T1" fmla="*/ 1042 h 518"/>
                  <a:gd name="T2" fmla="*/ 40924 w 398"/>
                  <a:gd name="T3" fmla="*/ 6773 h 518"/>
                  <a:gd name="T4" fmla="*/ 49970 w 398"/>
                  <a:gd name="T5" fmla="*/ 11983 h 518"/>
                  <a:gd name="T6" fmla="*/ 34462 w 398"/>
                  <a:gd name="T7" fmla="*/ 24487 h 518"/>
                  <a:gd name="T8" fmla="*/ 27570 w 398"/>
                  <a:gd name="T9" fmla="*/ 32302 h 518"/>
                  <a:gd name="T10" fmla="*/ 33170 w 398"/>
                  <a:gd name="T11" fmla="*/ 35949 h 518"/>
                  <a:gd name="T12" fmla="*/ 71940 w 398"/>
                  <a:gd name="T13" fmla="*/ 41159 h 518"/>
                  <a:gd name="T14" fmla="*/ 90464 w 398"/>
                  <a:gd name="T15" fmla="*/ 56788 h 518"/>
                  <a:gd name="T16" fmla="*/ 66340 w 398"/>
                  <a:gd name="T17" fmla="*/ 66166 h 518"/>
                  <a:gd name="T18" fmla="*/ 63324 w 398"/>
                  <a:gd name="T19" fmla="*/ 71897 h 518"/>
                  <a:gd name="T20" fmla="*/ 82279 w 398"/>
                  <a:gd name="T21" fmla="*/ 74502 h 518"/>
                  <a:gd name="T22" fmla="*/ 90894 w 398"/>
                  <a:gd name="T23" fmla="*/ 81275 h 518"/>
                  <a:gd name="T24" fmla="*/ 104679 w 398"/>
                  <a:gd name="T25" fmla="*/ 99510 h 518"/>
                  <a:gd name="T26" fmla="*/ 111141 w 398"/>
                  <a:gd name="T27" fmla="*/ 110451 h 518"/>
                  <a:gd name="T28" fmla="*/ 112003 w 398"/>
                  <a:gd name="T29" fmla="*/ 123476 h 518"/>
                  <a:gd name="T30" fmla="*/ 117172 w 398"/>
                  <a:gd name="T31" fmla="*/ 132333 h 518"/>
                  <a:gd name="T32" fmla="*/ 123203 w 398"/>
                  <a:gd name="T33" fmla="*/ 145357 h 518"/>
                  <a:gd name="T34" fmla="*/ 131818 w 398"/>
                  <a:gd name="T35" fmla="*/ 154735 h 518"/>
                  <a:gd name="T36" fmla="*/ 140865 w 398"/>
                  <a:gd name="T37" fmla="*/ 166718 h 518"/>
                  <a:gd name="T38" fmla="*/ 149049 w 398"/>
                  <a:gd name="T39" fmla="*/ 175575 h 518"/>
                  <a:gd name="T40" fmla="*/ 159388 w 398"/>
                  <a:gd name="T41" fmla="*/ 177659 h 518"/>
                  <a:gd name="T42" fmla="*/ 170588 w 398"/>
                  <a:gd name="T43" fmla="*/ 190163 h 518"/>
                  <a:gd name="T44" fmla="*/ 170158 w 398"/>
                  <a:gd name="T45" fmla="*/ 205793 h 518"/>
                  <a:gd name="T46" fmla="*/ 164558 w 398"/>
                  <a:gd name="T47" fmla="*/ 210482 h 518"/>
                  <a:gd name="T48" fmla="*/ 158096 w 398"/>
                  <a:gd name="T49" fmla="*/ 216213 h 518"/>
                  <a:gd name="T50" fmla="*/ 158527 w 398"/>
                  <a:gd name="T51" fmla="*/ 221944 h 518"/>
                  <a:gd name="T52" fmla="*/ 161973 w 398"/>
                  <a:gd name="T53" fmla="*/ 230800 h 518"/>
                  <a:gd name="T54" fmla="*/ 154650 w 398"/>
                  <a:gd name="T55" fmla="*/ 241220 h 518"/>
                  <a:gd name="T56" fmla="*/ 62894 w 398"/>
                  <a:gd name="T57" fmla="*/ 260497 h 518"/>
                  <a:gd name="T58" fmla="*/ 29293 w 398"/>
                  <a:gd name="T59" fmla="*/ 264665 h 518"/>
                  <a:gd name="T60" fmla="*/ 22831 w 398"/>
                  <a:gd name="T61" fmla="*/ 269875 h 518"/>
                  <a:gd name="T62" fmla="*/ 24985 w 398"/>
                  <a:gd name="T63" fmla="*/ 256850 h 518"/>
                  <a:gd name="T64" fmla="*/ 30585 w 398"/>
                  <a:gd name="T65" fmla="*/ 247993 h 518"/>
                  <a:gd name="T66" fmla="*/ 49109 w 398"/>
                  <a:gd name="T67" fmla="*/ 238615 h 518"/>
                  <a:gd name="T68" fmla="*/ 74094 w 398"/>
                  <a:gd name="T69" fmla="*/ 228716 h 518"/>
                  <a:gd name="T70" fmla="*/ 77109 w 398"/>
                  <a:gd name="T71" fmla="*/ 221944 h 518"/>
                  <a:gd name="T72" fmla="*/ 73663 w 398"/>
                  <a:gd name="T73" fmla="*/ 226111 h 518"/>
                  <a:gd name="T74" fmla="*/ 47816 w 398"/>
                  <a:gd name="T75" fmla="*/ 225069 h 518"/>
                  <a:gd name="T76" fmla="*/ 32739 w 398"/>
                  <a:gd name="T77" fmla="*/ 218818 h 518"/>
                  <a:gd name="T78" fmla="*/ 33170 w 398"/>
                  <a:gd name="T79" fmla="*/ 209440 h 518"/>
                  <a:gd name="T80" fmla="*/ 40924 w 398"/>
                  <a:gd name="T81" fmla="*/ 203709 h 518"/>
                  <a:gd name="T82" fmla="*/ 37478 w 398"/>
                  <a:gd name="T83" fmla="*/ 183390 h 518"/>
                  <a:gd name="T84" fmla="*/ 45232 w 398"/>
                  <a:gd name="T85" fmla="*/ 171407 h 518"/>
                  <a:gd name="T86" fmla="*/ 66340 w 398"/>
                  <a:gd name="T87" fmla="*/ 160987 h 518"/>
                  <a:gd name="T88" fmla="*/ 74094 w 398"/>
                  <a:gd name="T89" fmla="*/ 151609 h 518"/>
                  <a:gd name="T90" fmla="*/ 63755 w 398"/>
                  <a:gd name="T91" fmla="*/ 141189 h 518"/>
                  <a:gd name="T92" fmla="*/ 59878 w 398"/>
                  <a:gd name="T93" fmla="*/ 128686 h 518"/>
                  <a:gd name="T94" fmla="*/ 40493 w 398"/>
                  <a:gd name="T95" fmla="*/ 124518 h 518"/>
                  <a:gd name="T96" fmla="*/ 34462 w 398"/>
                  <a:gd name="T97" fmla="*/ 112535 h 518"/>
                  <a:gd name="T98" fmla="*/ 38770 w 398"/>
                  <a:gd name="T99" fmla="*/ 100031 h 518"/>
                  <a:gd name="T100" fmla="*/ 43078 w 398"/>
                  <a:gd name="T101" fmla="*/ 87527 h 518"/>
                  <a:gd name="T102" fmla="*/ 31447 w 398"/>
                  <a:gd name="T103" fmla="*/ 96905 h 518"/>
                  <a:gd name="T104" fmla="*/ 9477 w 398"/>
                  <a:gd name="T105" fmla="*/ 84401 h 518"/>
                  <a:gd name="T106" fmla="*/ 8616 w 398"/>
                  <a:gd name="T107" fmla="*/ 73981 h 518"/>
                  <a:gd name="T108" fmla="*/ 6031 w 398"/>
                  <a:gd name="T109" fmla="*/ 68250 h 518"/>
                  <a:gd name="T110" fmla="*/ 8616 w 398"/>
                  <a:gd name="T111" fmla="*/ 32823 h 518"/>
                  <a:gd name="T112" fmla="*/ 8185 w 398"/>
                  <a:gd name="T113" fmla="*/ 25529 h 518"/>
                  <a:gd name="T114" fmla="*/ 1723 w 398"/>
                  <a:gd name="T115" fmla="*/ 20840 h 518"/>
                  <a:gd name="T116" fmla="*/ 8616 w 398"/>
                  <a:gd name="T117" fmla="*/ 9899 h 518"/>
                  <a:gd name="T118" fmla="*/ 1292 w 398"/>
                  <a:gd name="T119" fmla="*/ 4689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13">
                <a:extLst>
                  <a:ext uri="{FF2B5EF4-FFF2-40B4-BE49-F238E27FC236}">
                    <a16:creationId xmlns:a16="http://schemas.microsoft.com/office/drawing/2014/main" id="{5077EA20-9B49-4B08-AAAE-BA9E6AE7E2B5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622303" y="3631834"/>
                <a:ext cx="540612" cy="198634"/>
              </a:xfrm>
              <a:custGeom>
                <a:avLst/>
                <a:gdLst>
                  <a:gd name="T0" fmla="*/ 84486 w 382"/>
                  <a:gd name="T1" fmla="*/ 10812 h 148"/>
                  <a:gd name="T2" fmla="*/ 78706 w 382"/>
                  <a:gd name="T3" fmla="*/ 15961 h 148"/>
                  <a:gd name="T4" fmla="*/ 77372 w 382"/>
                  <a:gd name="T5" fmla="*/ 23169 h 148"/>
                  <a:gd name="T6" fmla="*/ 74704 w 382"/>
                  <a:gd name="T7" fmla="*/ 27288 h 148"/>
                  <a:gd name="T8" fmla="*/ 73814 w 382"/>
                  <a:gd name="T9" fmla="*/ 31407 h 148"/>
                  <a:gd name="T10" fmla="*/ 78706 w 382"/>
                  <a:gd name="T11" fmla="*/ 38100 h 148"/>
                  <a:gd name="T12" fmla="*/ 68923 w 382"/>
                  <a:gd name="T13" fmla="*/ 44278 h 148"/>
                  <a:gd name="T14" fmla="*/ 48024 w 382"/>
                  <a:gd name="T15" fmla="*/ 49427 h 148"/>
                  <a:gd name="T16" fmla="*/ 34239 w 382"/>
                  <a:gd name="T17" fmla="*/ 49942 h 148"/>
                  <a:gd name="T18" fmla="*/ 23123 w 382"/>
                  <a:gd name="T19" fmla="*/ 48912 h 148"/>
                  <a:gd name="T20" fmla="*/ 1779 w 382"/>
                  <a:gd name="T21" fmla="*/ 57150 h 148"/>
                  <a:gd name="T22" fmla="*/ 0 w 382"/>
                  <a:gd name="T23" fmla="*/ 66418 h 148"/>
                  <a:gd name="T24" fmla="*/ 1779 w 382"/>
                  <a:gd name="T25" fmla="*/ 67447 h 148"/>
                  <a:gd name="T26" fmla="*/ 5336 w 382"/>
                  <a:gd name="T27" fmla="*/ 67447 h 148"/>
                  <a:gd name="T28" fmla="*/ 22678 w 382"/>
                  <a:gd name="T29" fmla="*/ 66418 h 148"/>
                  <a:gd name="T30" fmla="*/ 50692 w 382"/>
                  <a:gd name="T31" fmla="*/ 65388 h 148"/>
                  <a:gd name="T32" fmla="*/ 54694 w 382"/>
                  <a:gd name="T33" fmla="*/ 68992 h 148"/>
                  <a:gd name="T34" fmla="*/ 60919 w 382"/>
                  <a:gd name="T35" fmla="*/ 72596 h 148"/>
                  <a:gd name="T36" fmla="*/ 70702 w 382"/>
                  <a:gd name="T37" fmla="*/ 75685 h 148"/>
                  <a:gd name="T38" fmla="*/ 82263 w 382"/>
                  <a:gd name="T39" fmla="*/ 76200 h 148"/>
                  <a:gd name="T40" fmla="*/ 93380 w 382"/>
                  <a:gd name="T41" fmla="*/ 76200 h 148"/>
                  <a:gd name="T42" fmla="*/ 103607 w 382"/>
                  <a:gd name="T43" fmla="*/ 76200 h 148"/>
                  <a:gd name="T44" fmla="*/ 113390 w 382"/>
                  <a:gd name="T45" fmla="*/ 76200 h 148"/>
                  <a:gd name="T46" fmla="*/ 122283 w 382"/>
                  <a:gd name="T47" fmla="*/ 73626 h 148"/>
                  <a:gd name="T48" fmla="*/ 133844 w 382"/>
                  <a:gd name="T49" fmla="*/ 68992 h 148"/>
                  <a:gd name="T50" fmla="*/ 148518 w 382"/>
                  <a:gd name="T51" fmla="*/ 62299 h 148"/>
                  <a:gd name="T52" fmla="*/ 156967 w 382"/>
                  <a:gd name="T53" fmla="*/ 53031 h 148"/>
                  <a:gd name="T54" fmla="*/ 165415 w 382"/>
                  <a:gd name="T55" fmla="*/ 37070 h 148"/>
                  <a:gd name="T56" fmla="*/ 167194 w 382"/>
                  <a:gd name="T57" fmla="*/ 26773 h 148"/>
                  <a:gd name="T58" fmla="*/ 161413 w 382"/>
                  <a:gd name="T59" fmla="*/ 22654 h 148"/>
                  <a:gd name="T60" fmla="*/ 158745 w 382"/>
                  <a:gd name="T61" fmla="*/ 16476 h 148"/>
                  <a:gd name="T62" fmla="*/ 154299 w 382"/>
                  <a:gd name="T63" fmla="*/ 11327 h 148"/>
                  <a:gd name="T64" fmla="*/ 148518 w 382"/>
                  <a:gd name="T65" fmla="*/ 8753 h 148"/>
                  <a:gd name="T66" fmla="*/ 141848 w 382"/>
                  <a:gd name="T67" fmla="*/ 4119 h 148"/>
                  <a:gd name="T68" fmla="*/ 90267 w 382"/>
                  <a:gd name="T69" fmla="*/ 9268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id="{FC7F2848-7DC9-4B1D-8781-B3F79918387A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369680" y="3131113"/>
                <a:ext cx="581033" cy="620730"/>
              </a:xfrm>
              <a:custGeom>
                <a:avLst/>
                <a:gdLst>
                  <a:gd name="T0" fmla="*/ 177560 w 438"/>
                  <a:gd name="T1" fmla="*/ 100319 h 451"/>
                  <a:gd name="T2" fmla="*/ 170058 w 438"/>
                  <a:gd name="T3" fmla="*/ 67583 h 451"/>
                  <a:gd name="T4" fmla="*/ 161305 w 438"/>
                  <a:gd name="T5" fmla="*/ 44879 h 451"/>
                  <a:gd name="T6" fmla="*/ 152969 w 438"/>
                  <a:gd name="T7" fmla="*/ 32736 h 451"/>
                  <a:gd name="T8" fmla="*/ 148384 w 438"/>
                  <a:gd name="T9" fmla="*/ 30624 h 451"/>
                  <a:gd name="T10" fmla="*/ 139631 w 438"/>
                  <a:gd name="T11" fmla="*/ 23760 h 451"/>
                  <a:gd name="T12" fmla="*/ 130878 w 438"/>
                  <a:gd name="T13" fmla="*/ 20064 h 451"/>
                  <a:gd name="T14" fmla="*/ 122125 w 438"/>
                  <a:gd name="T15" fmla="*/ 20064 h 451"/>
                  <a:gd name="T16" fmla="*/ 115039 w 438"/>
                  <a:gd name="T17" fmla="*/ 22176 h 451"/>
                  <a:gd name="T18" fmla="*/ 104619 w 438"/>
                  <a:gd name="T19" fmla="*/ 30624 h 451"/>
                  <a:gd name="T20" fmla="*/ 97950 w 438"/>
                  <a:gd name="T21" fmla="*/ 35376 h 451"/>
                  <a:gd name="T22" fmla="*/ 90447 w 438"/>
                  <a:gd name="T23" fmla="*/ 34848 h 451"/>
                  <a:gd name="T24" fmla="*/ 72525 w 438"/>
                  <a:gd name="T25" fmla="*/ 19536 h 451"/>
                  <a:gd name="T26" fmla="*/ 47099 w 438"/>
                  <a:gd name="T27" fmla="*/ 0 h 451"/>
                  <a:gd name="T28" fmla="*/ 39597 w 438"/>
                  <a:gd name="T29" fmla="*/ 12144 h 451"/>
                  <a:gd name="T30" fmla="*/ 38763 w 438"/>
                  <a:gd name="T31" fmla="*/ 22704 h 451"/>
                  <a:gd name="T32" fmla="*/ 40847 w 438"/>
                  <a:gd name="T33" fmla="*/ 27456 h 451"/>
                  <a:gd name="T34" fmla="*/ 49600 w 438"/>
                  <a:gd name="T35" fmla="*/ 36432 h 451"/>
                  <a:gd name="T36" fmla="*/ 41264 w 438"/>
                  <a:gd name="T37" fmla="*/ 38544 h 451"/>
                  <a:gd name="T38" fmla="*/ 27509 w 438"/>
                  <a:gd name="T39" fmla="*/ 49103 h 451"/>
                  <a:gd name="T40" fmla="*/ 24175 w 438"/>
                  <a:gd name="T41" fmla="*/ 62831 h 451"/>
                  <a:gd name="T42" fmla="*/ 18756 w 438"/>
                  <a:gd name="T43" fmla="*/ 72863 h 451"/>
                  <a:gd name="T44" fmla="*/ 14588 w 438"/>
                  <a:gd name="T45" fmla="*/ 82367 h 451"/>
                  <a:gd name="T46" fmla="*/ 13755 w 438"/>
                  <a:gd name="T47" fmla="*/ 94511 h 451"/>
                  <a:gd name="T48" fmla="*/ 2918 w 438"/>
                  <a:gd name="T49" fmla="*/ 125662 h 451"/>
                  <a:gd name="T50" fmla="*/ 6252 w 438"/>
                  <a:gd name="T51" fmla="*/ 129886 h 451"/>
                  <a:gd name="T52" fmla="*/ 10837 w 438"/>
                  <a:gd name="T53" fmla="*/ 130414 h 451"/>
                  <a:gd name="T54" fmla="*/ 13755 w 438"/>
                  <a:gd name="T55" fmla="*/ 182686 h 451"/>
                  <a:gd name="T56" fmla="*/ 38763 w 438"/>
                  <a:gd name="T57" fmla="*/ 186382 h 451"/>
                  <a:gd name="T58" fmla="*/ 43348 w 438"/>
                  <a:gd name="T59" fmla="*/ 198525 h 451"/>
                  <a:gd name="T60" fmla="*/ 37096 w 438"/>
                  <a:gd name="T61" fmla="*/ 224397 h 451"/>
                  <a:gd name="T62" fmla="*/ 45432 w 438"/>
                  <a:gd name="T63" fmla="*/ 236013 h 451"/>
                  <a:gd name="T64" fmla="*/ 63355 w 438"/>
                  <a:gd name="T65" fmla="*/ 236013 h 451"/>
                  <a:gd name="T66" fmla="*/ 85446 w 438"/>
                  <a:gd name="T67" fmla="*/ 234429 h 451"/>
                  <a:gd name="T68" fmla="*/ 115039 w 438"/>
                  <a:gd name="T69" fmla="*/ 235485 h 451"/>
                  <a:gd name="T70" fmla="*/ 142965 w 438"/>
                  <a:gd name="T71" fmla="*/ 233373 h 451"/>
                  <a:gd name="T72" fmla="*/ 155053 w 438"/>
                  <a:gd name="T73" fmla="*/ 228093 h 451"/>
                  <a:gd name="T74" fmla="*/ 149634 w 438"/>
                  <a:gd name="T75" fmla="*/ 218061 h 451"/>
                  <a:gd name="T76" fmla="*/ 153802 w 438"/>
                  <a:gd name="T77" fmla="*/ 212781 h 451"/>
                  <a:gd name="T78" fmla="*/ 155053 w 438"/>
                  <a:gd name="T79" fmla="*/ 201693 h 451"/>
                  <a:gd name="T80" fmla="*/ 158387 w 438"/>
                  <a:gd name="T81" fmla="*/ 193774 h 451"/>
                  <a:gd name="T82" fmla="*/ 142965 w 438"/>
                  <a:gd name="T83" fmla="*/ 181630 h 451"/>
                  <a:gd name="T84" fmla="*/ 135463 w 438"/>
                  <a:gd name="T85" fmla="*/ 170542 h 451"/>
                  <a:gd name="T86" fmla="*/ 129627 w 438"/>
                  <a:gd name="T87" fmla="*/ 155230 h 451"/>
                  <a:gd name="T88" fmla="*/ 122542 w 438"/>
                  <a:gd name="T89" fmla="*/ 146254 h 451"/>
                  <a:gd name="T90" fmla="*/ 130878 w 438"/>
                  <a:gd name="T91" fmla="*/ 145198 h 451"/>
                  <a:gd name="T92" fmla="*/ 144216 w 438"/>
                  <a:gd name="T93" fmla="*/ 143086 h 451"/>
                  <a:gd name="T94" fmla="*/ 153802 w 438"/>
                  <a:gd name="T95" fmla="*/ 137278 h 451"/>
                  <a:gd name="T96" fmla="*/ 169641 w 438"/>
                  <a:gd name="T97" fmla="*/ 126718 h 451"/>
                  <a:gd name="T98" fmla="*/ 182562 w 438"/>
                  <a:gd name="T99" fmla="*/ 124078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23">
                <a:extLst>
                  <a:ext uri="{FF2B5EF4-FFF2-40B4-BE49-F238E27FC236}">
                    <a16:creationId xmlns:a16="http://schemas.microsoft.com/office/drawing/2014/main" id="{FB86C4B5-EF23-4EE6-B303-51B79B67C7B0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248031" y="4041518"/>
                <a:ext cx="894284" cy="645560"/>
              </a:xfrm>
              <a:custGeom>
                <a:avLst/>
                <a:gdLst>
                  <a:gd name="T0" fmla="*/ 176323 w 647"/>
                  <a:gd name="T1" fmla="*/ 14227 h 470"/>
                  <a:gd name="T2" fmla="*/ 185877 w 647"/>
                  <a:gd name="T3" fmla="*/ 23711 h 470"/>
                  <a:gd name="T4" fmla="*/ 198906 w 647"/>
                  <a:gd name="T5" fmla="*/ 31615 h 470"/>
                  <a:gd name="T6" fmla="*/ 222358 w 647"/>
                  <a:gd name="T7" fmla="*/ 41099 h 470"/>
                  <a:gd name="T8" fmla="*/ 233649 w 647"/>
                  <a:gd name="T9" fmla="*/ 42680 h 470"/>
                  <a:gd name="T10" fmla="*/ 244072 w 647"/>
                  <a:gd name="T11" fmla="*/ 52165 h 470"/>
                  <a:gd name="T12" fmla="*/ 246244 w 647"/>
                  <a:gd name="T13" fmla="*/ 51111 h 470"/>
                  <a:gd name="T14" fmla="*/ 249718 w 647"/>
                  <a:gd name="T15" fmla="*/ 44788 h 470"/>
                  <a:gd name="T16" fmla="*/ 253192 w 647"/>
                  <a:gd name="T17" fmla="*/ 41099 h 470"/>
                  <a:gd name="T18" fmla="*/ 261878 w 647"/>
                  <a:gd name="T19" fmla="*/ 42153 h 470"/>
                  <a:gd name="T20" fmla="*/ 270998 w 647"/>
                  <a:gd name="T21" fmla="*/ 41626 h 470"/>
                  <a:gd name="T22" fmla="*/ 277947 w 647"/>
                  <a:gd name="T23" fmla="*/ 44261 h 470"/>
                  <a:gd name="T24" fmla="*/ 280553 w 647"/>
                  <a:gd name="T25" fmla="*/ 54272 h 470"/>
                  <a:gd name="T26" fmla="*/ 280553 w 647"/>
                  <a:gd name="T27" fmla="*/ 64811 h 470"/>
                  <a:gd name="T28" fmla="*/ 268393 w 647"/>
                  <a:gd name="T29" fmla="*/ 69026 h 470"/>
                  <a:gd name="T30" fmla="*/ 254495 w 647"/>
                  <a:gd name="T31" fmla="*/ 76930 h 470"/>
                  <a:gd name="T32" fmla="*/ 243204 w 647"/>
                  <a:gd name="T33" fmla="*/ 86941 h 470"/>
                  <a:gd name="T34" fmla="*/ 218883 w 647"/>
                  <a:gd name="T35" fmla="*/ 112760 h 470"/>
                  <a:gd name="T36" fmla="*/ 212369 w 647"/>
                  <a:gd name="T37" fmla="*/ 119610 h 470"/>
                  <a:gd name="T38" fmla="*/ 205854 w 647"/>
                  <a:gd name="T39" fmla="*/ 133836 h 470"/>
                  <a:gd name="T40" fmla="*/ 205420 w 647"/>
                  <a:gd name="T41" fmla="*/ 148590 h 470"/>
                  <a:gd name="T42" fmla="*/ 205420 w 647"/>
                  <a:gd name="T43" fmla="*/ 163871 h 470"/>
                  <a:gd name="T44" fmla="*/ 201077 w 647"/>
                  <a:gd name="T45" fmla="*/ 179151 h 470"/>
                  <a:gd name="T46" fmla="*/ 195431 w 647"/>
                  <a:gd name="T47" fmla="*/ 186528 h 470"/>
                  <a:gd name="T48" fmla="*/ 178494 w 647"/>
                  <a:gd name="T49" fmla="*/ 202335 h 470"/>
                  <a:gd name="T50" fmla="*/ 166334 w 647"/>
                  <a:gd name="T51" fmla="*/ 216562 h 470"/>
                  <a:gd name="T52" fmla="*/ 162425 w 647"/>
                  <a:gd name="T53" fmla="*/ 223939 h 470"/>
                  <a:gd name="T54" fmla="*/ 160254 w 647"/>
                  <a:gd name="T55" fmla="*/ 227627 h 470"/>
                  <a:gd name="T56" fmla="*/ 134631 w 647"/>
                  <a:gd name="T57" fmla="*/ 226046 h 470"/>
                  <a:gd name="T58" fmla="*/ 111613 w 647"/>
                  <a:gd name="T59" fmla="*/ 228681 h 470"/>
                  <a:gd name="T60" fmla="*/ 97281 w 647"/>
                  <a:gd name="T61" fmla="*/ 235004 h 470"/>
                  <a:gd name="T62" fmla="*/ 83818 w 647"/>
                  <a:gd name="T63" fmla="*/ 246069 h 470"/>
                  <a:gd name="T64" fmla="*/ 77738 w 647"/>
                  <a:gd name="T65" fmla="*/ 247123 h 470"/>
                  <a:gd name="T66" fmla="*/ 73395 w 647"/>
                  <a:gd name="T67" fmla="*/ 242908 h 470"/>
                  <a:gd name="T68" fmla="*/ 66447 w 647"/>
                  <a:gd name="T69" fmla="*/ 227627 h 470"/>
                  <a:gd name="T70" fmla="*/ 60801 w 647"/>
                  <a:gd name="T71" fmla="*/ 218143 h 470"/>
                  <a:gd name="T72" fmla="*/ 52984 w 647"/>
                  <a:gd name="T73" fmla="*/ 210766 h 470"/>
                  <a:gd name="T74" fmla="*/ 49509 w 647"/>
                  <a:gd name="T75" fmla="*/ 199701 h 470"/>
                  <a:gd name="T76" fmla="*/ 54721 w 647"/>
                  <a:gd name="T77" fmla="*/ 177043 h 470"/>
                  <a:gd name="T78" fmla="*/ 55155 w 647"/>
                  <a:gd name="T79" fmla="*/ 140686 h 470"/>
                  <a:gd name="T80" fmla="*/ 63841 w 647"/>
                  <a:gd name="T81" fmla="*/ 108544 h 470"/>
                  <a:gd name="T82" fmla="*/ 72961 w 647"/>
                  <a:gd name="T83" fmla="*/ 78510 h 470"/>
                  <a:gd name="T84" fmla="*/ 74698 w 647"/>
                  <a:gd name="T85" fmla="*/ 69026 h 470"/>
                  <a:gd name="T86" fmla="*/ 50378 w 647"/>
                  <a:gd name="T87" fmla="*/ 64811 h 470"/>
                  <a:gd name="T88" fmla="*/ 26926 w 647"/>
                  <a:gd name="T89" fmla="*/ 57434 h 470"/>
                  <a:gd name="T90" fmla="*/ 7383 w 647"/>
                  <a:gd name="T91" fmla="*/ 49003 h 470"/>
                  <a:gd name="T92" fmla="*/ 0 w 647"/>
                  <a:gd name="T93" fmla="*/ 20023 h 470"/>
                  <a:gd name="T94" fmla="*/ 9989 w 647"/>
                  <a:gd name="T95" fmla="*/ 17915 h 470"/>
                  <a:gd name="T96" fmla="*/ 22149 w 647"/>
                  <a:gd name="T97" fmla="*/ 10538 h 470"/>
                  <a:gd name="T98" fmla="*/ 31703 w 647"/>
                  <a:gd name="T99" fmla="*/ 2108 h 470"/>
                  <a:gd name="T100" fmla="*/ 37349 w 647"/>
                  <a:gd name="T101" fmla="*/ 0 h 470"/>
                  <a:gd name="T102" fmla="*/ 57327 w 647"/>
                  <a:gd name="T103" fmla="*/ 3688 h 470"/>
                  <a:gd name="T104" fmla="*/ 74264 w 647"/>
                  <a:gd name="T105" fmla="*/ 8958 h 470"/>
                  <a:gd name="T106" fmla="*/ 90767 w 647"/>
                  <a:gd name="T107" fmla="*/ 10538 h 470"/>
                  <a:gd name="T108" fmla="*/ 102059 w 647"/>
                  <a:gd name="T109" fmla="*/ 15281 h 470"/>
                  <a:gd name="T110" fmla="*/ 112047 w 647"/>
                  <a:gd name="T111" fmla="*/ 19496 h 470"/>
                  <a:gd name="T112" fmla="*/ 167202 w 647"/>
                  <a:gd name="T113" fmla="*/ 13700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34">
                <a:extLst>
                  <a:ext uri="{FF2B5EF4-FFF2-40B4-BE49-F238E27FC236}">
                    <a16:creationId xmlns:a16="http://schemas.microsoft.com/office/drawing/2014/main" id="{1019D2BC-5729-4C25-ABF2-E10BBCCE9267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4122496" y="3590452"/>
                <a:ext cx="399148" cy="148976"/>
              </a:xfrm>
              <a:custGeom>
                <a:avLst/>
                <a:gdLst>
                  <a:gd name="T0" fmla="*/ 54117 w 292"/>
                  <a:gd name="T1" fmla="*/ 0 h 99"/>
                  <a:gd name="T2" fmla="*/ 65713 w 292"/>
                  <a:gd name="T3" fmla="*/ 0 h 99"/>
                  <a:gd name="T4" fmla="*/ 85040 w 292"/>
                  <a:gd name="T5" fmla="*/ 577 h 99"/>
                  <a:gd name="T6" fmla="*/ 107374 w 292"/>
                  <a:gd name="T7" fmla="*/ 3464 h 99"/>
                  <a:gd name="T8" fmla="*/ 125413 w 292"/>
                  <a:gd name="T9" fmla="*/ 4041 h 99"/>
                  <a:gd name="T10" fmla="*/ 124554 w 292"/>
                  <a:gd name="T11" fmla="*/ 11545 h 99"/>
                  <a:gd name="T12" fmla="*/ 122407 w 292"/>
                  <a:gd name="T13" fmla="*/ 19050 h 99"/>
                  <a:gd name="T14" fmla="*/ 119830 w 292"/>
                  <a:gd name="T15" fmla="*/ 31750 h 99"/>
                  <a:gd name="T16" fmla="*/ 57982 w 292"/>
                  <a:gd name="T17" fmla="*/ 40409 h 99"/>
                  <a:gd name="T18" fmla="*/ 42520 w 292"/>
                  <a:gd name="T19" fmla="*/ 51377 h 99"/>
                  <a:gd name="T20" fmla="*/ 33930 w 292"/>
                  <a:gd name="T21" fmla="*/ 55418 h 99"/>
                  <a:gd name="T22" fmla="*/ 28347 w 292"/>
                  <a:gd name="T23" fmla="*/ 56573 h 99"/>
                  <a:gd name="T24" fmla="*/ 23622 w 292"/>
                  <a:gd name="T25" fmla="*/ 56573 h 99"/>
                  <a:gd name="T26" fmla="*/ 19327 w 292"/>
                  <a:gd name="T27" fmla="*/ 54264 h 99"/>
                  <a:gd name="T28" fmla="*/ 14173 w 292"/>
                  <a:gd name="T29" fmla="*/ 49645 h 99"/>
                  <a:gd name="T30" fmla="*/ 8590 w 292"/>
                  <a:gd name="T31" fmla="*/ 44450 h 99"/>
                  <a:gd name="T32" fmla="*/ 3006 w 292"/>
                  <a:gd name="T33" fmla="*/ 39832 h 99"/>
                  <a:gd name="T34" fmla="*/ 429 w 292"/>
                  <a:gd name="T35" fmla="*/ 32905 h 99"/>
                  <a:gd name="T36" fmla="*/ 0 w 292"/>
                  <a:gd name="T37" fmla="*/ 24245 h 99"/>
                  <a:gd name="T38" fmla="*/ 429 w 292"/>
                  <a:gd name="T39" fmla="*/ 14432 h 99"/>
                  <a:gd name="T40" fmla="*/ 1288 w 292"/>
                  <a:gd name="T41" fmla="*/ 11545 h 99"/>
                  <a:gd name="T42" fmla="*/ 3865 w 292"/>
                  <a:gd name="T43" fmla="*/ 10391 h 99"/>
                  <a:gd name="T44" fmla="*/ 6442 w 292"/>
                  <a:gd name="T45" fmla="*/ 12123 h 99"/>
                  <a:gd name="T46" fmla="*/ 10737 w 292"/>
                  <a:gd name="T47" fmla="*/ 16164 h 99"/>
                  <a:gd name="T48" fmla="*/ 15032 w 292"/>
                  <a:gd name="T49" fmla="*/ 18473 h 99"/>
                  <a:gd name="T50" fmla="*/ 19327 w 292"/>
                  <a:gd name="T51" fmla="*/ 19627 h 99"/>
                  <a:gd name="T52" fmla="*/ 23193 w 292"/>
                  <a:gd name="T53" fmla="*/ 19050 h 99"/>
                  <a:gd name="T54" fmla="*/ 28776 w 292"/>
                  <a:gd name="T55" fmla="*/ 16741 h 99"/>
                  <a:gd name="T56" fmla="*/ 34789 w 292"/>
                  <a:gd name="T57" fmla="*/ 10968 h 99"/>
                  <a:gd name="T58" fmla="*/ 37796 w 292"/>
                  <a:gd name="T59" fmla="*/ 6350 h 99"/>
                  <a:gd name="T60" fmla="*/ 40373 w 292"/>
                  <a:gd name="T61" fmla="*/ 3464 h 99"/>
                  <a:gd name="T62" fmla="*/ 46815 w 292"/>
                  <a:gd name="T63" fmla="*/ 577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228">
                <a:extLst>
                  <a:ext uri="{FF2B5EF4-FFF2-40B4-BE49-F238E27FC236}">
                    <a16:creationId xmlns:a16="http://schemas.microsoft.com/office/drawing/2014/main" id="{EB5E40A8-8794-4375-B469-0557F6AB3093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4309437" y="4157387"/>
                <a:ext cx="156625" cy="235876"/>
              </a:xfrm>
              <a:custGeom>
                <a:avLst/>
                <a:gdLst>
                  <a:gd name="T0" fmla="*/ 49212 w 120"/>
                  <a:gd name="T1" fmla="*/ 51782 h 173"/>
                  <a:gd name="T2" fmla="*/ 37729 w 120"/>
                  <a:gd name="T3" fmla="*/ 31383 h 173"/>
                  <a:gd name="T4" fmla="*/ 28707 w 120"/>
                  <a:gd name="T5" fmla="*/ 14645 h 173"/>
                  <a:gd name="T6" fmla="*/ 24606 w 120"/>
                  <a:gd name="T7" fmla="*/ 8369 h 173"/>
                  <a:gd name="T8" fmla="*/ 21735 w 120"/>
                  <a:gd name="T9" fmla="*/ 4184 h 173"/>
                  <a:gd name="T10" fmla="*/ 19685 w 120"/>
                  <a:gd name="T11" fmla="*/ 2092 h 173"/>
                  <a:gd name="T12" fmla="*/ 18455 w 120"/>
                  <a:gd name="T13" fmla="*/ 1046 h 173"/>
                  <a:gd name="T14" fmla="*/ 17634 w 120"/>
                  <a:gd name="T15" fmla="*/ 523 h 173"/>
                  <a:gd name="T16" fmla="*/ 15994 w 120"/>
                  <a:gd name="T17" fmla="*/ 0 h 173"/>
                  <a:gd name="T18" fmla="*/ 13533 w 120"/>
                  <a:gd name="T19" fmla="*/ 0 h 173"/>
                  <a:gd name="T20" fmla="*/ 11073 w 120"/>
                  <a:gd name="T21" fmla="*/ 523 h 173"/>
                  <a:gd name="T22" fmla="*/ 9842 w 120"/>
                  <a:gd name="T23" fmla="*/ 1569 h 173"/>
                  <a:gd name="T24" fmla="*/ 8612 w 120"/>
                  <a:gd name="T25" fmla="*/ 2615 h 173"/>
                  <a:gd name="T26" fmla="*/ 7792 w 120"/>
                  <a:gd name="T27" fmla="*/ 4184 h 173"/>
                  <a:gd name="T28" fmla="*/ 6562 w 120"/>
                  <a:gd name="T29" fmla="*/ 6277 h 173"/>
                  <a:gd name="T30" fmla="*/ 6152 w 120"/>
                  <a:gd name="T31" fmla="*/ 7846 h 173"/>
                  <a:gd name="T32" fmla="*/ 6152 w 120"/>
                  <a:gd name="T33" fmla="*/ 10461 h 173"/>
                  <a:gd name="T34" fmla="*/ 5741 w 120"/>
                  <a:gd name="T35" fmla="*/ 15691 h 173"/>
                  <a:gd name="T36" fmla="*/ 4921 w 120"/>
                  <a:gd name="T37" fmla="*/ 21968 h 173"/>
                  <a:gd name="T38" fmla="*/ 4101 w 120"/>
                  <a:gd name="T39" fmla="*/ 25106 h 173"/>
                  <a:gd name="T40" fmla="*/ 3281 w 120"/>
                  <a:gd name="T41" fmla="*/ 28244 h 173"/>
                  <a:gd name="T42" fmla="*/ 1640 w 120"/>
                  <a:gd name="T43" fmla="*/ 31906 h 173"/>
                  <a:gd name="T44" fmla="*/ 0 w 120"/>
                  <a:gd name="T45" fmla="*/ 35567 h 173"/>
                  <a:gd name="T46" fmla="*/ 2051 w 120"/>
                  <a:gd name="T47" fmla="*/ 42890 h 173"/>
                  <a:gd name="T48" fmla="*/ 4101 w 120"/>
                  <a:gd name="T49" fmla="*/ 51782 h 173"/>
                  <a:gd name="T50" fmla="*/ 6152 w 120"/>
                  <a:gd name="T51" fmla="*/ 60150 h 173"/>
                  <a:gd name="T52" fmla="*/ 8202 w 120"/>
                  <a:gd name="T53" fmla="*/ 67473 h 173"/>
                  <a:gd name="T54" fmla="*/ 9842 w 120"/>
                  <a:gd name="T55" fmla="*/ 70088 h 173"/>
                  <a:gd name="T56" fmla="*/ 12303 w 120"/>
                  <a:gd name="T57" fmla="*/ 72703 h 173"/>
                  <a:gd name="T58" fmla="*/ 15174 w 120"/>
                  <a:gd name="T59" fmla="*/ 75842 h 173"/>
                  <a:gd name="T60" fmla="*/ 18865 w 120"/>
                  <a:gd name="T61" fmla="*/ 78980 h 173"/>
                  <a:gd name="T62" fmla="*/ 22145 w 120"/>
                  <a:gd name="T63" fmla="*/ 82118 h 173"/>
                  <a:gd name="T64" fmla="*/ 24606 w 120"/>
                  <a:gd name="T65" fmla="*/ 85257 h 173"/>
                  <a:gd name="T66" fmla="*/ 25426 w 120"/>
                  <a:gd name="T67" fmla="*/ 86303 h 173"/>
                  <a:gd name="T68" fmla="*/ 26657 w 120"/>
                  <a:gd name="T69" fmla="*/ 87872 h 173"/>
                  <a:gd name="T70" fmla="*/ 27067 w 120"/>
                  <a:gd name="T71" fmla="*/ 88918 h 173"/>
                  <a:gd name="T72" fmla="*/ 27477 w 120"/>
                  <a:gd name="T73" fmla="*/ 90487 h 173"/>
                  <a:gd name="T74" fmla="*/ 31168 w 120"/>
                  <a:gd name="T75" fmla="*/ 87349 h 173"/>
                  <a:gd name="T76" fmla="*/ 35269 w 120"/>
                  <a:gd name="T77" fmla="*/ 83687 h 173"/>
                  <a:gd name="T78" fmla="*/ 38139 w 120"/>
                  <a:gd name="T79" fmla="*/ 79503 h 173"/>
                  <a:gd name="T80" fmla="*/ 41420 w 120"/>
                  <a:gd name="T81" fmla="*/ 74273 h 173"/>
                  <a:gd name="T82" fmla="*/ 43471 w 120"/>
                  <a:gd name="T83" fmla="*/ 69042 h 173"/>
                  <a:gd name="T84" fmla="*/ 45931 w 120"/>
                  <a:gd name="T85" fmla="*/ 63289 h 173"/>
                  <a:gd name="T86" fmla="*/ 47572 w 120"/>
                  <a:gd name="T87" fmla="*/ 57535 h 173"/>
                  <a:gd name="T88" fmla="*/ 49212 w 120"/>
                  <a:gd name="T89" fmla="*/ 51782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229">
                <a:extLst>
                  <a:ext uri="{FF2B5EF4-FFF2-40B4-BE49-F238E27FC236}">
                    <a16:creationId xmlns:a16="http://schemas.microsoft.com/office/drawing/2014/main" id="{A2702039-F6E7-4F10-BEBA-2A0C55203AE5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379785" y="3739428"/>
                <a:ext cx="267779" cy="153114"/>
              </a:xfrm>
              <a:custGeom>
                <a:avLst/>
                <a:gdLst>
                  <a:gd name="T0" fmla="*/ 84137 w 200"/>
                  <a:gd name="T1" fmla="*/ 32965 h 98"/>
                  <a:gd name="T2" fmla="*/ 82034 w 200"/>
                  <a:gd name="T3" fmla="*/ 33565 h 98"/>
                  <a:gd name="T4" fmla="*/ 78247 w 200"/>
                  <a:gd name="T5" fmla="*/ 35962 h 98"/>
                  <a:gd name="T6" fmla="*/ 74461 w 200"/>
                  <a:gd name="T7" fmla="*/ 38959 h 98"/>
                  <a:gd name="T8" fmla="*/ 69834 w 200"/>
                  <a:gd name="T9" fmla="*/ 43754 h 98"/>
                  <a:gd name="T10" fmla="*/ 65206 w 200"/>
                  <a:gd name="T11" fmla="*/ 47949 h 98"/>
                  <a:gd name="T12" fmla="*/ 60999 w 200"/>
                  <a:gd name="T13" fmla="*/ 52145 h 98"/>
                  <a:gd name="T14" fmla="*/ 57634 w 200"/>
                  <a:gd name="T15" fmla="*/ 55741 h 98"/>
                  <a:gd name="T16" fmla="*/ 55951 w 200"/>
                  <a:gd name="T17" fmla="*/ 58738 h 98"/>
                  <a:gd name="T18" fmla="*/ 53427 w 200"/>
                  <a:gd name="T19" fmla="*/ 58738 h 98"/>
                  <a:gd name="T20" fmla="*/ 51324 w 200"/>
                  <a:gd name="T21" fmla="*/ 58738 h 98"/>
                  <a:gd name="T22" fmla="*/ 48799 w 200"/>
                  <a:gd name="T23" fmla="*/ 58139 h 98"/>
                  <a:gd name="T24" fmla="*/ 46696 w 200"/>
                  <a:gd name="T25" fmla="*/ 56940 h 98"/>
                  <a:gd name="T26" fmla="*/ 44593 w 200"/>
                  <a:gd name="T27" fmla="*/ 55741 h 98"/>
                  <a:gd name="T28" fmla="*/ 43331 w 200"/>
                  <a:gd name="T29" fmla="*/ 52744 h 98"/>
                  <a:gd name="T30" fmla="*/ 42489 w 200"/>
                  <a:gd name="T31" fmla="*/ 49148 h 98"/>
                  <a:gd name="T32" fmla="*/ 42069 w 200"/>
                  <a:gd name="T33" fmla="*/ 44353 h 98"/>
                  <a:gd name="T34" fmla="*/ 38282 w 200"/>
                  <a:gd name="T35" fmla="*/ 47949 h 98"/>
                  <a:gd name="T36" fmla="*/ 34496 w 200"/>
                  <a:gd name="T37" fmla="*/ 51546 h 98"/>
                  <a:gd name="T38" fmla="*/ 32813 w 200"/>
                  <a:gd name="T39" fmla="*/ 53943 h 98"/>
                  <a:gd name="T40" fmla="*/ 30289 w 200"/>
                  <a:gd name="T41" fmla="*/ 55741 h 98"/>
                  <a:gd name="T42" fmla="*/ 28186 w 200"/>
                  <a:gd name="T43" fmla="*/ 57539 h 98"/>
                  <a:gd name="T44" fmla="*/ 25241 w 200"/>
                  <a:gd name="T45" fmla="*/ 58738 h 98"/>
                  <a:gd name="T46" fmla="*/ 16407 w 200"/>
                  <a:gd name="T47" fmla="*/ 58738 h 98"/>
                  <a:gd name="T48" fmla="*/ 14303 w 200"/>
                  <a:gd name="T49" fmla="*/ 58738 h 98"/>
                  <a:gd name="T50" fmla="*/ 11779 w 200"/>
                  <a:gd name="T51" fmla="*/ 56940 h 98"/>
                  <a:gd name="T52" fmla="*/ 9255 w 200"/>
                  <a:gd name="T53" fmla="*/ 55142 h 98"/>
                  <a:gd name="T54" fmla="*/ 6310 w 200"/>
                  <a:gd name="T55" fmla="*/ 53344 h 98"/>
                  <a:gd name="T56" fmla="*/ 3786 w 200"/>
                  <a:gd name="T57" fmla="*/ 50946 h 98"/>
                  <a:gd name="T58" fmla="*/ 1683 w 200"/>
                  <a:gd name="T59" fmla="*/ 48549 h 98"/>
                  <a:gd name="T60" fmla="*/ 421 w 200"/>
                  <a:gd name="T61" fmla="*/ 46151 h 98"/>
                  <a:gd name="T62" fmla="*/ 0 w 200"/>
                  <a:gd name="T63" fmla="*/ 44353 h 98"/>
                  <a:gd name="T64" fmla="*/ 2103 w 200"/>
                  <a:gd name="T65" fmla="*/ 42555 h 98"/>
                  <a:gd name="T66" fmla="*/ 4207 w 200"/>
                  <a:gd name="T67" fmla="*/ 40158 h 98"/>
                  <a:gd name="T68" fmla="*/ 5890 w 200"/>
                  <a:gd name="T69" fmla="*/ 35962 h 98"/>
                  <a:gd name="T70" fmla="*/ 8414 w 200"/>
                  <a:gd name="T71" fmla="*/ 31766 h 98"/>
                  <a:gd name="T72" fmla="*/ 9676 w 200"/>
                  <a:gd name="T73" fmla="*/ 26972 h 98"/>
                  <a:gd name="T74" fmla="*/ 11358 w 200"/>
                  <a:gd name="T75" fmla="*/ 22177 h 98"/>
                  <a:gd name="T76" fmla="*/ 12621 w 200"/>
                  <a:gd name="T77" fmla="*/ 16782 h 98"/>
                  <a:gd name="T78" fmla="*/ 13883 w 200"/>
                  <a:gd name="T79" fmla="*/ 11388 h 98"/>
                  <a:gd name="T80" fmla="*/ 27765 w 200"/>
                  <a:gd name="T81" fmla="*/ 8391 h 98"/>
                  <a:gd name="T82" fmla="*/ 43331 w 200"/>
                  <a:gd name="T83" fmla="*/ 5394 h 98"/>
                  <a:gd name="T84" fmla="*/ 60999 w 200"/>
                  <a:gd name="T85" fmla="*/ 2397 h 98"/>
                  <a:gd name="T86" fmla="*/ 81192 w 200"/>
                  <a:gd name="T87" fmla="*/ 0 h 98"/>
                  <a:gd name="T88" fmla="*/ 69834 w 200"/>
                  <a:gd name="T89" fmla="*/ 18580 h 98"/>
                  <a:gd name="T90" fmla="*/ 69834 w 200"/>
                  <a:gd name="T91" fmla="*/ 20378 h 98"/>
                  <a:gd name="T92" fmla="*/ 68992 w 200"/>
                  <a:gd name="T93" fmla="*/ 22177 h 98"/>
                  <a:gd name="T94" fmla="*/ 68151 w 200"/>
                  <a:gd name="T95" fmla="*/ 23375 h 98"/>
                  <a:gd name="T96" fmla="*/ 67730 w 200"/>
                  <a:gd name="T97" fmla="*/ 24574 h 98"/>
                  <a:gd name="T98" fmla="*/ 66048 w 200"/>
                  <a:gd name="T99" fmla="*/ 26972 h 98"/>
                  <a:gd name="T100" fmla="*/ 65627 w 200"/>
                  <a:gd name="T101" fmla="*/ 28170 h 98"/>
                  <a:gd name="T102" fmla="*/ 65627 w 200"/>
                  <a:gd name="T103" fmla="*/ 29369 h 98"/>
                  <a:gd name="T104" fmla="*/ 66048 w 200"/>
                  <a:gd name="T105" fmla="*/ 29968 h 98"/>
                  <a:gd name="T106" fmla="*/ 66889 w 200"/>
                  <a:gd name="T107" fmla="*/ 29968 h 98"/>
                  <a:gd name="T108" fmla="*/ 68572 w 200"/>
                  <a:gd name="T109" fmla="*/ 30568 h 98"/>
                  <a:gd name="T110" fmla="*/ 74461 w 200"/>
                  <a:gd name="T111" fmla="*/ 31766 h 98"/>
                  <a:gd name="T112" fmla="*/ 84137 w 200"/>
                  <a:gd name="T113" fmla="*/ 32965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230">
                <a:extLst>
                  <a:ext uri="{FF2B5EF4-FFF2-40B4-BE49-F238E27FC236}">
                    <a16:creationId xmlns:a16="http://schemas.microsoft.com/office/drawing/2014/main" id="{CB4B65C6-C868-4C5F-8700-E35347A4610E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3182737" y="3267672"/>
                <a:ext cx="267781" cy="190358"/>
              </a:xfrm>
              <a:custGeom>
                <a:avLst/>
                <a:gdLst>
                  <a:gd name="T0" fmla="*/ 0 w 186"/>
                  <a:gd name="T1" fmla="*/ 57597 h 142"/>
                  <a:gd name="T2" fmla="*/ 905 w 186"/>
                  <a:gd name="T3" fmla="*/ 59654 h 142"/>
                  <a:gd name="T4" fmla="*/ 1357 w 186"/>
                  <a:gd name="T5" fmla="*/ 55026 h 142"/>
                  <a:gd name="T6" fmla="*/ 1357 w 186"/>
                  <a:gd name="T7" fmla="*/ 47826 h 142"/>
                  <a:gd name="T8" fmla="*/ 4071 w 186"/>
                  <a:gd name="T9" fmla="*/ 42169 h 142"/>
                  <a:gd name="T10" fmla="*/ 7690 w 186"/>
                  <a:gd name="T11" fmla="*/ 35484 h 142"/>
                  <a:gd name="T12" fmla="*/ 9047 w 186"/>
                  <a:gd name="T13" fmla="*/ 28799 h 142"/>
                  <a:gd name="T14" fmla="*/ 10404 w 186"/>
                  <a:gd name="T15" fmla="*/ 23656 h 142"/>
                  <a:gd name="T16" fmla="*/ 12666 w 186"/>
                  <a:gd name="T17" fmla="*/ 19028 h 142"/>
                  <a:gd name="T18" fmla="*/ 15832 w 186"/>
                  <a:gd name="T19" fmla="*/ 16456 h 142"/>
                  <a:gd name="T20" fmla="*/ 18547 w 186"/>
                  <a:gd name="T21" fmla="*/ 19542 h 142"/>
                  <a:gd name="T22" fmla="*/ 19451 w 186"/>
                  <a:gd name="T23" fmla="*/ 25199 h 142"/>
                  <a:gd name="T24" fmla="*/ 21261 w 186"/>
                  <a:gd name="T25" fmla="*/ 29827 h 142"/>
                  <a:gd name="T26" fmla="*/ 24880 w 186"/>
                  <a:gd name="T27" fmla="*/ 33427 h 142"/>
                  <a:gd name="T28" fmla="*/ 39355 w 186"/>
                  <a:gd name="T29" fmla="*/ 34455 h 142"/>
                  <a:gd name="T30" fmla="*/ 35736 w 186"/>
                  <a:gd name="T31" fmla="*/ 21085 h 142"/>
                  <a:gd name="T32" fmla="*/ 31212 w 186"/>
                  <a:gd name="T33" fmla="*/ 18513 h 142"/>
                  <a:gd name="T34" fmla="*/ 28498 w 186"/>
                  <a:gd name="T35" fmla="*/ 15428 h 142"/>
                  <a:gd name="T36" fmla="*/ 27594 w 186"/>
                  <a:gd name="T37" fmla="*/ 11828 h 142"/>
                  <a:gd name="T38" fmla="*/ 31665 w 186"/>
                  <a:gd name="T39" fmla="*/ 8742 h 142"/>
                  <a:gd name="T40" fmla="*/ 39355 w 186"/>
                  <a:gd name="T41" fmla="*/ 7200 h 142"/>
                  <a:gd name="T42" fmla="*/ 44331 w 186"/>
                  <a:gd name="T43" fmla="*/ 5143 h 142"/>
                  <a:gd name="T44" fmla="*/ 50211 w 186"/>
                  <a:gd name="T45" fmla="*/ 3086 h 142"/>
                  <a:gd name="T46" fmla="*/ 58806 w 186"/>
                  <a:gd name="T47" fmla="*/ 1543 h 142"/>
                  <a:gd name="T48" fmla="*/ 66496 w 186"/>
                  <a:gd name="T49" fmla="*/ 514 h 142"/>
                  <a:gd name="T50" fmla="*/ 71924 w 186"/>
                  <a:gd name="T51" fmla="*/ 1029 h 142"/>
                  <a:gd name="T52" fmla="*/ 79614 w 186"/>
                  <a:gd name="T53" fmla="*/ 514 h 142"/>
                  <a:gd name="T54" fmla="*/ 82781 w 186"/>
                  <a:gd name="T55" fmla="*/ 5143 h 142"/>
                  <a:gd name="T56" fmla="*/ 80519 w 186"/>
                  <a:gd name="T57" fmla="*/ 13371 h 142"/>
                  <a:gd name="T58" fmla="*/ 76448 w 186"/>
                  <a:gd name="T59" fmla="*/ 20570 h 142"/>
                  <a:gd name="T60" fmla="*/ 71924 w 186"/>
                  <a:gd name="T61" fmla="*/ 26227 h 142"/>
                  <a:gd name="T62" fmla="*/ 70115 w 186"/>
                  <a:gd name="T63" fmla="*/ 32398 h 142"/>
                  <a:gd name="T64" fmla="*/ 69210 w 186"/>
                  <a:gd name="T65" fmla="*/ 39084 h 142"/>
                  <a:gd name="T66" fmla="*/ 54283 w 186"/>
                  <a:gd name="T67" fmla="*/ 73025 h 142"/>
                  <a:gd name="T68" fmla="*/ 36188 w 186"/>
                  <a:gd name="T69" fmla="*/ 62740 h 142"/>
                  <a:gd name="T70" fmla="*/ 15832 w 186"/>
                  <a:gd name="T71" fmla="*/ 60168 h 142"/>
                  <a:gd name="T72" fmla="*/ 3619 w 186"/>
                  <a:gd name="T73" fmla="*/ 58111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Freeform 231">
                <a:extLst>
                  <a:ext uri="{FF2B5EF4-FFF2-40B4-BE49-F238E27FC236}">
                    <a16:creationId xmlns:a16="http://schemas.microsoft.com/office/drawing/2014/main" id="{7CE90AFA-572B-4B32-81C0-8057E81DC799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3122106" y="3433201"/>
                <a:ext cx="267781" cy="148976"/>
              </a:xfrm>
              <a:custGeom>
                <a:avLst/>
                <a:gdLst>
                  <a:gd name="T0" fmla="*/ 84138 w 192"/>
                  <a:gd name="T1" fmla="*/ 33201 h 105"/>
                  <a:gd name="T2" fmla="*/ 82823 w 192"/>
                  <a:gd name="T3" fmla="*/ 33746 h 105"/>
                  <a:gd name="T4" fmla="*/ 80632 w 192"/>
                  <a:gd name="T5" fmla="*/ 34290 h 105"/>
                  <a:gd name="T6" fmla="*/ 78879 w 192"/>
                  <a:gd name="T7" fmla="*/ 34834 h 105"/>
                  <a:gd name="T8" fmla="*/ 77565 w 192"/>
                  <a:gd name="T9" fmla="*/ 36467 h 105"/>
                  <a:gd name="T10" fmla="*/ 73621 w 192"/>
                  <a:gd name="T11" fmla="*/ 39189 h 105"/>
                  <a:gd name="T12" fmla="*/ 70115 w 192"/>
                  <a:gd name="T13" fmla="*/ 42999 h 105"/>
                  <a:gd name="T14" fmla="*/ 67486 w 192"/>
                  <a:gd name="T15" fmla="*/ 46809 h 105"/>
                  <a:gd name="T16" fmla="*/ 64418 w 192"/>
                  <a:gd name="T17" fmla="*/ 50619 h 105"/>
                  <a:gd name="T18" fmla="*/ 62665 w 192"/>
                  <a:gd name="T19" fmla="*/ 53884 h 105"/>
                  <a:gd name="T20" fmla="*/ 60912 w 192"/>
                  <a:gd name="T21" fmla="*/ 57150 h 105"/>
                  <a:gd name="T22" fmla="*/ 52586 w 192"/>
                  <a:gd name="T23" fmla="*/ 52796 h 105"/>
                  <a:gd name="T24" fmla="*/ 44698 w 192"/>
                  <a:gd name="T25" fmla="*/ 48441 h 105"/>
                  <a:gd name="T26" fmla="*/ 37687 w 192"/>
                  <a:gd name="T27" fmla="*/ 43543 h 105"/>
                  <a:gd name="T28" fmla="*/ 30237 w 192"/>
                  <a:gd name="T29" fmla="*/ 38644 h 105"/>
                  <a:gd name="T30" fmla="*/ 23226 w 192"/>
                  <a:gd name="T31" fmla="*/ 33201 h 105"/>
                  <a:gd name="T32" fmla="*/ 15776 w 192"/>
                  <a:gd name="T33" fmla="*/ 28847 h 105"/>
                  <a:gd name="T34" fmla="*/ 8326 w 192"/>
                  <a:gd name="T35" fmla="*/ 23949 h 105"/>
                  <a:gd name="T36" fmla="*/ 0 w 192"/>
                  <a:gd name="T37" fmla="*/ 20139 h 105"/>
                  <a:gd name="T38" fmla="*/ 0 w 192"/>
                  <a:gd name="T39" fmla="*/ 7076 h 105"/>
                  <a:gd name="T40" fmla="*/ 3068 w 192"/>
                  <a:gd name="T41" fmla="*/ 3810 h 105"/>
                  <a:gd name="T42" fmla="*/ 7012 w 192"/>
                  <a:gd name="T43" fmla="*/ 2177 h 105"/>
                  <a:gd name="T44" fmla="*/ 12708 w 192"/>
                  <a:gd name="T45" fmla="*/ 544 h 105"/>
                  <a:gd name="T46" fmla="*/ 17529 w 192"/>
                  <a:gd name="T47" fmla="*/ 0 h 105"/>
                  <a:gd name="T48" fmla="*/ 26293 w 192"/>
                  <a:gd name="T49" fmla="*/ 1089 h 105"/>
                  <a:gd name="T50" fmla="*/ 40754 w 192"/>
                  <a:gd name="T51" fmla="*/ 2721 h 105"/>
                  <a:gd name="T52" fmla="*/ 48642 w 192"/>
                  <a:gd name="T53" fmla="*/ 3810 h 105"/>
                  <a:gd name="T54" fmla="*/ 56092 w 192"/>
                  <a:gd name="T55" fmla="*/ 3810 h 105"/>
                  <a:gd name="T56" fmla="*/ 62665 w 192"/>
                  <a:gd name="T57" fmla="*/ 3810 h 105"/>
                  <a:gd name="T58" fmla="*/ 67047 w 192"/>
                  <a:gd name="T59" fmla="*/ 3266 h 105"/>
                  <a:gd name="T60" fmla="*/ 67924 w 192"/>
                  <a:gd name="T61" fmla="*/ 5987 h 105"/>
                  <a:gd name="T62" fmla="*/ 69677 w 192"/>
                  <a:gd name="T63" fmla="*/ 9253 h 105"/>
                  <a:gd name="T64" fmla="*/ 70553 w 192"/>
                  <a:gd name="T65" fmla="*/ 10886 h 105"/>
                  <a:gd name="T66" fmla="*/ 71868 w 192"/>
                  <a:gd name="T67" fmla="*/ 12519 h 105"/>
                  <a:gd name="T68" fmla="*/ 72306 w 192"/>
                  <a:gd name="T69" fmla="*/ 14696 h 105"/>
                  <a:gd name="T70" fmla="*/ 72744 w 192"/>
                  <a:gd name="T71" fmla="*/ 16873 h 105"/>
                  <a:gd name="T72" fmla="*/ 74497 w 192"/>
                  <a:gd name="T73" fmla="*/ 17417 h 105"/>
                  <a:gd name="T74" fmla="*/ 77565 w 192"/>
                  <a:gd name="T75" fmla="*/ 17961 h 105"/>
                  <a:gd name="T76" fmla="*/ 78879 w 192"/>
                  <a:gd name="T77" fmla="*/ 18506 h 105"/>
                  <a:gd name="T78" fmla="*/ 80194 w 192"/>
                  <a:gd name="T79" fmla="*/ 18506 h 105"/>
                  <a:gd name="T80" fmla="*/ 82385 w 192"/>
                  <a:gd name="T81" fmla="*/ 17961 h 105"/>
                  <a:gd name="T82" fmla="*/ 84138 w 192"/>
                  <a:gd name="T83" fmla="*/ 16873 h 105"/>
                  <a:gd name="T84" fmla="*/ 84138 w 192"/>
                  <a:gd name="T85" fmla="*/ 33201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234">
                <a:extLst>
                  <a:ext uri="{FF2B5EF4-FFF2-40B4-BE49-F238E27FC236}">
                    <a16:creationId xmlns:a16="http://schemas.microsoft.com/office/drawing/2014/main" id="{131F944F-B032-4D39-8F08-DB434797EB7E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202559" y="3069039"/>
                <a:ext cx="308203" cy="376577"/>
              </a:xfrm>
              <a:custGeom>
                <a:avLst/>
                <a:gdLst>
                  <a:gd name="T0" fmla="*/ 79622 w 225"/>
                  <a:gd name="T1" fmla="*/ 35454 h 273"/>
                  <a:gd name="T2" fmla="*/ 74458 w 225"/>
                  <a:gd name="T3" fmla="*/ 41275 h 273"/>
                  <a:gd name="T4" fmla="*/ 68432 w 225"/>
                  <a:gd name="T5" fmla="*/ 43392 h 273"/>
                  <a:gd name="T6" fmla="*/ 70154 w 225"/>
                  <a:gd name="T7" fmla="*/ 49213 h 273"/>
                  <a:gd name="T8" fmla="*/ 74888 w 225"/>
                  <a:gd name="T9" fmla="*/ 53446 h 273"/>
                  <a:gd name="T10" fmla="*/ 83926 w 225"/>
                  <a:gd name="T11" fmla="*/ 55563 h 273"/>
                  <a:gd name="T12" fmla="*/ 96838 w 225"/>
                  <a:gd name="T13" fmla="*/ 56092 h 273"/>
                  <a:gd name="T14" fmla="*/ 96838 w 225"/>
                  <a:gd name="T15" fmla="*/ 80434 h 273"/>
                  <a:gd name="T16" fmla="*/ 96408 w 225"/>
                  <a:gd name="T17" fmla="*/ 93134 h 273"/>
                  <a:gd name="T18" fmla="*/ 92534 w 225"/>
                  <a:gd name="T19" fmla="*/ 98955 h 273"/>
                  <a:gd name="T20" fmla="*/ 84787 w 225"/>
                  <a:gd name="T21" fmla="*/ 108480 h 273"/>
                  <a:gd name="T22" fmla="*/ 82635 w 225"/>
                  <a:gd name="T23" fmla="*/ 113242 h 273"/>
                  <a:gd name="T24" fmla="*/ 77040 w 225"/>
                  <a:gd name="T25" fmla="*/ 115359 h 273"/>
                  <a:gd name="T26" fmla="*/ 70584 w 225"/>
                  <a:gd name="T27" fmla="*/ 119063 h 273"/>
                  <a:gd name="T28" fmla="*/ 68432 w 225"/>
                  <a:gd name="T29" fmla="*/ 124884 h 273"/>
                  <a:gd name="T30" fmla="*/ 60255 w 225"/>
                  <a:gd name="T31" fmla="*/ 128059 h 273"/>
                  <a:gd name="T32" fmla="*/ 55090 w 225"/>
                  <a:gd name="T33" fmla="*/ 133350 h 273"/>
                  <a:gd name="T34" fmla="*/ 43470 w 225"/>
                  <a:gd name="T35" fmla="*/ 134938 h 273"/>
                  <a:gd name="T36" fmla="*/ 25823 w 225"/>
                  <a:gd name="T37" fmla="*/ 138113 h 273"/>
                  <a:gd name="T38" fmla="*/ 8177 w 225"/>
                  <a:gd name="T39" fmla="*/ 138113 h 273"/>
                  <a:gd name="T40" fmla="*/ 0 w 225"/>
                  <a:gd name="T41" fmla="*/ 114830 h 273"/>
                  <a:gd name="T42" fmla="*/ 9038 w 225"/>
                  <a:gd name="T43" fmla="*/ 112184 h 273"/>
                  <a:gd name="T44" fmla="*/ 11190 w 225"/>
                  <a:gd name="T45" fmla="*/ 108480 h 273"/>
                  <a:gd name="T46" fmla="*/ 25823 w 225"/>
                  <a:gd name="T47" fmla="*/ 106892 h 273"/>
                  <a:gd name="T48" fmla="*/ 30988 w 225"/>
                  <a:gd name="T49" fmla="*/ 102130 h 273"/>
                  <a:gd name="T50" fmla="*/ 20659 w 225"/>
                  <a:gd name="T51" fmla="*/ 104775 h 273"/>
                  <a:gd name="T52" fmla="*/ 17216 w 225"/>
                  <a:gd name="T53" fmla="*/ 104246 h 273"/>
                  <a:gd name="T54" fmla="*/ 16785 w 225"/>
                  <a:gd name="T55" fmla="*/ 99484 h 273"/>
                  <a:gd name="T56" fmla="*/ 19798 w 225"/>
                  <a:gd name="T57" fmla="*/ 91546 h 273"/>
                  <a:gd name="T58" fmla="*/ 16785 w 225"/>
                  <a:gd name="T59" fmla="*/ 84667 h 273"/>
                  <a:gd name="T60" fmla="*/ 6025 w 225"/>
                  <a:gd name="T61" fmla="*/ 79375 h 273"/>
                  <a:gd name="T62" fmla="*/ 2582 w 225"/>
                  <a:gd name="T63" fmla="*/ 68792 h 273"/>
                  <a:gd name="T64" fmla="*/ 9469 w 225"/>
                  <a:gd name="T65" fmla="*/ 60854 h 273"/>
                  <a:gd name="T66" fmla="*/ 15064 w 225"/>
                  <a:gd name="T67" fmla="*/ 53975 h 273"/>
                  <a:gd name="T68" fmla="*/ 29267 w 225"/>
                  <a:gd name="T69" fmla="*/ 49742 h 273"/>
                  <a:gd name="T70" fmla="*/ 38735 w 225"/>
                  <a:gd name="T71" fmla="*/ 49742 h 273"/>
                  <a:gd name="T72" fmla="*/ 43039 w 225"/>
                  <a:gd name="T73" fmla="*/ 46567 h 273"/>
                  <a:gd name="T74" fmla="*/ 46482 w 225"/>
                  <a:gd name="T75" fmla="*/ 27517 h 273"/>
                  <a:gd name="T76" fmla="*/ 51647 w 225"/>
                  <a:gd name="T77" fmla="*/ 16404 h 273"/>
                  <a:gd name="T78" fmla="*/ 55951 w 225"/>
                  <a:gd name="T79" fmla="*/ 10583 h 273"/>
                  <a:gd name="T80" fmla="*/ 60685 w 225"/>
                  <a:gd name="T81" fmla="*/ 3704 h 273"/>
                  <a:gd name="T82" fmla="*/ 66711 w 225"/>
                  <a:gd name="T83" fmla="*/ 529 h 273"/>
                  <a:gd name="T84" fmla="*/ 77040 w 225"/>
                  <a:gd name="T85" fmla="*/ 1588 h 273"/>
                  <a:gd name="T86" fmla="*/ 83926 w 225"/>
                  <a:gd name="T87" fmla="*/ 20108 h 273"/>
                  <a:gd name="T88" fmla="*/ 84357 w 225"/>
                  <a:gd name="T89" fmla="*/ 24871 h 273"/>
                  <a:gd name="T90" fmla="*/ 81774 w 225"/>
                  <a:gd name="T91" fmla="*/ 29633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242">
                <a:extLst>
                  <a:ext uri="{FF2B5EF4-FFF2-40B4-BE49-F238E27FC236}">
                    <a16:creationId xmlns:a16="http://schemas.microsoft.com/office/drawing/2014/main" id="{2D7B9C8C-4029-4C20-A5E8-A06EA4CB69FF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81025" y="2965585"/>
                <a:ext cx="45475" cy="148976"/>
              </a:xfrm>
              <a:custGeom>
                <a:avLst/>
                <a:gdLst>
                  <a:gd name="T0" fmla="*/ 0 w 28"/>
                  <a:gd name="T1" fmla="*/ 57150 h 73"/>
                  <a:gd name="T2" fmla="*/ 1021 w 28"/>
                  <a:gd name="T3" fmla="*/ 36795 h 73"/>
                  <a:gd name="T4" fmla="*/ 3062 w 28"/>
                  <a:gd name="T5" fmla="*/ 21921 h 73"/>
                  <a:gd name="T6" fmla="*/ 3572 w 28"/>
                  <a:gd name="T7" fmla="*/ 15658 h 73"/>
                  <a:gd name="T8" fmla="*/ 3062 w 28"/>
                  <a:gd name="T9" fmla="*/ 10177 h 73"/>
                  <a:gd name="T10" fmla="*/ 2041 w 28"/>
                  <a:gd name="T11" fmla="*/ 5480 h 73"/>
                  <a:gd name="T12" fmla="*/ 0 w 28"/>
                  <a:gd name="T13" fmla="*/ 0 h 73"/>
                  <a:gd name="T14" fmla="*/ 14288 w 28"/>
                  <a:gd name="T15" fmla="*/ 0 h 73"/>
                  <a:gd name="T16" fmla="*/ 11226 w 28"/>
                  <a:gd name="T17" fmla="*/ 12526 h 73"/>
                  <a:gd name="T18" fmla="*/ 8675 w 28"/>
                  <a:gd name="T19" fmla="*/ 23486 h 73"/>
                  <a:gd name="T20" fmla="*/ 6123 w 28"/>
                  <a:gd name="T21" fmla="*/ 33664 h 73"/>
                  <a:gd name="T22" fmla="*/ 3572 w 28"/>
                  <a:gd name="T23" fmla="*/ 43058 h 73"/>
                  <a:gd name="T24" fmla="*/ 0 w 28"/>
                  <a:gd name="T25" fmla="*/ 57150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244">
                <a:extLst>
                  <a:ext uri="{FF2B5EF4-FFF2-40B4-BE49-F238E27FC236}">
                    <a16:creationId xmlns:a16="http://schemas.microsoft.com/office/drawing/2014/main" id="{8ECE3C99-347A-4C8C-B031-12DD221621D0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4061865" y="2907650"/>
                <a:ext cx="85894" cy="148976"/>
              </a:xfrm>
              <a:custGeom>
                <a:avLst/>
                <a:gdLst>
                  <a:gd name="T0" fmla="*/ 0 w 60"/>
                  <a:gd name="T1" fmla="*/ 41462 h 51"/>
                  <a:gd name="T2" fmla="*/ 2699 w 60"/>
                  <a:gd name="T3" fmla="*/ 33618 h 51"/>
                  <a:gd name="T4" fmla="*/ 6747 w 60"/>
                  <a:gd name="T5" fmla="*/ 21291 h 51"/>
                  <a:gd name="T6" fmla="*/ 8996 w 60"/>
                  <a:gd name="T7" fmla="*/ 14568 h 51"/>
                  <a:gd name="T8" fmla="*/ 12145 w 60"/>
                  <a:gd name="T9" fmla="*/ 8965 h 51"/>
                  <a:gd name="T10" fmla="*/ 14843 w 60"/>
                  <a:gd name="T11" fmla="*/ 4482 h 51"/>
                  <a:gd name="T12" fmla="*/ 17992 w 60"/>
                  <a:gd name="T13" fmla="*/ 0 h 51"/>
                  <a:gd name="T14" fmla="*/ 22490 w 60"/>
                  <a:gd name="T15" fmla="*/ 7844 h 51"/>
                  <a:gd name="T16" fmla="*/ 26988 w 60"/>
                  <a:gd name="T17" fmla="*/ 14568 h 51"/>
                  <a:gd name="T18" fmla="*/ 26538 w 60"/>
                  <a:gd name="T19" fmla="*/ 22412 h 51"/>
                  <a:gd name="T20" fmla="*/ 25189 w 60"/>
                  <a:gd name="T21" fmla="*/ 32497 h 51"/>
                  <a:gd name="T22" fmla="*/ 24289 w 60"/>
                  <a:gd name="T23" fmla="*/ 38100 h 51"/>
                  <a:gd name="T24" fmla="*/ 23390 w 60"/>
                  <a:gd name="T25" fmla="*/ 42582 h 51"/>
                  <a:gd name="T26" fmla="*/ 22040 w 60"/>
                  <a:gd name="T27" fmla="*/ 47065 h 51"/>
                  <a:gd name="T28" fmla="*/ 20241 w 60"/>
                  <a:gd name="T29" fmla="*/ 50426 h 51"/>
                  <a:gd name="T30" fmla="*/ 18442 w 60"/>
                  <a:gd name="T31" fmla="*/ 53788 h 51"/>
                  <a:gd name="T32" fmla="*/ 16643 w 60"/>
                  <a:gd name="T33" fmla="*/ 56029 h 51"/>
                  <a:gd name="T34" fmla="*/ 13944 w 60"/>
                  <a:gd name="T35" fmla="*/ 57150 h 51"/>
                  <a:gd name="T36" fmla="*/ 12145 w 60"/>
                  <a:gd name="T37" fmla="*/ 57150 h 51"/>
                  <a:gd name="T38" fmla="*/ 8996 w 60"/>
                  <a:gd name="T39" fmla="*/ 56029 h 51"/>
                  <a:gd name="T40" fmla="*/ 6747 w 60"/>
                  <a:gd name="T41" fmla="*/ 52668 h 51"/>
                  <a:gd name="T42" fmla="*/ 3149 w 60"/>
                  <a:gd name="T43" fmla="*/ 48185 h 51"/>
                  <a:gd name="T44" fmla="*/ 0 w 60"/>
                  <a:gd name="T45" fmla="*/ 41462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245">
                <a:extLst>
                  <a:ext uri="{FF2B5EF4-FFF2-40B4-BE49-F238E27FC236}">
                    <a16:creationId xmlns:a16="http://schemas.microsoft.com/office/drawing/2014/main" id="{C19CCC19-B4FD-4DB0-8E8E-87120CB8D3BB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293502" y="3329747"/>
                <a:ext cx="90945" cy="148976"/>
              </a:xfrm>
              <a:custGeom>
                <a:avLst/>
                <a:gdLst>
                  <a:gd name="T0" fmla="*/ 25544 w 66"/>
                  <a:gd name="T1" fmla="*/ 53788 h 51"/>
                  <a:gd name="T2" fmla="*/ 18184 w 66"/>
                  <a:gd name="T3" fmla="*/ 56029 h 51"/>
                  <a:gd name="T4" fmla="*/ 9525 w 66"/>
                  <a:gd name="T5" fmla="*/ 57150 h 51"/>
                  <a:gd name="T6" fmla="*/ 7360 w 66"/>
                  <a:gd name="T7" fmla="*/ 56029 h 51"/>
                  <a:gd name="T8" fmla="*/ 5628 w 66"/>
                  <a:gd name="T9" fmla="*/ 54909 h 51"/>
                  <a:gd name="T10" fmla="*/ 4330 w 66"/>
                  <a:gd name="T11" fmla="*/ 53788 h 51"/>
                  <a:gd name="T12" fmla="*/ 3031 w 66"/>
                  <a:gd name="T13" fmla="*/ 51547 h 51"/>
                  <a:gd name="T14" fmla="*/ 1299 w 66"/>
                  <a:gd name="T15" fmla="*/ 48185 h 51"/>
                  <a:gd name="T16" fmla="*/ 433 w 66"/>
                  <a:gd name="T17" fmla="*/ 44824 h 51"/>
                  <a:gd name="T18" fmla="*/ 0 w 66"/>
                  <a:gd name="T19" fmla="*/ 39221 h 51"/>
                  <a:gd name="T20" fmla="*/ 0 w 66"/>
                  <a:gd name="T21" fmla="*/ 33618 h 51"/>
                  <a:gd name="T22" fmla="*/ 1732 w 66"/>
                  <a:gd name="T23" fmla="*/ 32497 h 51"/>
                  <a:gd name="T24" fmla="*/ 4330 w 66"/>
                  <a:gd name="T25" fmla="*/ 30256 h 51"/>
                  <a:gd name="T26" fmla="*/ 6061 w 66"/>
                  <a:gd name="T27" fmla="*/ 26894 h 51"/>
                  <a:gd name="T28" fmla="*/ 8226 w 66"/>
                  <a:gd name="T29" fmla="*/ 22412 h 51"/>
                  <a:gd name="T30" fmla="*/ 11257 w 66"/>
                  <a:gd name="T31" fmla="*/ 11206 h 51"/>
                  <a:gd name="T32" fmla="*/ 14288 w 66"/>
                  <a:gd name="T33" fmla="*/ 0 h 51"/>
                  <a:gd name="T34" fmla="*/ 19916 w 66"/>
                  <a:gd name="T35" fmla="*/ 1121 h 51"/>
                  <a:gd name="T36" fmla="*/ 22514 w 66"/>
                  <a:gd name="T37" fmla="*/ 2241 h 51"/>
                  <a:gd name="T38" fmla="*/ 24245 w 66"/>
                  <a:gd name="T39" fmla="*/ 3362 h 51"/>
                  <a:gd name="T40" fmla="*/ 28575 w 66"/>
                  <a:gd name="T41" fmla="*/ 0 h 51"/>
                  <a:gd name="T42" fmla="*/ 28142 w 66"/>
                  <a:gd name="T43" fmla="*/ 14568 h 51"/>
                  <a:gd name="T44" fmla="*/ 27276 w 66"/>
                  <a:gd name="T45" fmla="*/ 26894 h 51"/>
                  <a:gd name="T46" fmla="*/ 25977 w 66"/>
                  <a:gd name="T47" fmla="*/ 40341 h 51"/>
                  <a:gd name="T48" fmla="*/ 25544 w 66"/>
                  <a:gd name="T49" fmla="*/ 53788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343">
                <a:extLst>
                  <a:ext uri="{FF2B5EF4-FFF2-40B4-BE49-F238E27FC236}">
                    <a16:creationId xmlns:a16="http://schemas.microsoft.com/office/drawing/2014/main" id="{087EB1B5-CD24-4B3F-9C7C-DCA86ADF2791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4082075" y="3681492"/>
                <a:ext cx="464827" cy="186221"/>
              </a:xfrm>
              <a:custGeom>
                <a:avLst/>
                <a:gdLst>
                  <a:gd name="T0" fmla="*/ 134815 w 338"/>
                  <a:gd name="T1" fmla="*/ 0 h 141"/>
                  <a:gd name="T2" fmla="*/ 80371 w 338"/>
                  <a:gd name="T3" fmla="*/ 0 h 141"/>
                  <a:gd name="T4" fmla="*/ 72593 w 338"/>
                  <a:gd name="T5" fmla="*/ 4053 h 141"/>
                  <a:gd name="T6" fmla="*/ 62222 w 338"/>
                  <a:gd name="T7" fmla="*/ 10640 h 141"/>
                  <a:gd name="T8" fmla="*/ 57037 w 338"/>
                  <a:gd name="T9" fmla="*/ 13680 h 141"/>
                  <a:gd name="T10" fmla="*/ 51420 w 338"/>
                  <a:gd name="T11" fmla="*/ 16213 h 141"/>
                  <a:gd name="T12" fmla="*/ 48395 w 338"/>
                  <a:gd name="T13" fmla="*/ 17226 h 141"/>
                  <a:gd name="T14" fmla="*/ 45371 w 338"/>
                  <a:gd name="T15" fmla="*/ 17733 h 141"/>
                  <a:gd name="T16" fmla="*/ 42778 w 338"/>
                  <a:gd name="T17" fmla="*/ 18239 h 141"/>
                  <a:gd name="T18" fmla="*/ 40185 w 338"/>
                  <a:gd name="T19" fmla="*/ 18746 h 141"/>
                  <a:gd name="T20" fmla="*/ 38025 w 338"/>
                  <a:gd name="T21" fmla="*/ 18239 h 141"/>
                  <a:gd name="T22" fmla="*/ 36296 w 338"/>
                  <a:gd name="T23" fmla="*/ 17733 h 141"/>
                  <a:gd name="T24" fmla="*/ 33704 w 338"/>
                  <a:gd name="T25" fmla="*/ 16213 h 141"/>
                  <a:gd name="T26" fmla="*/ 31975 w 338"/>
                  <a:gd name="T27" fmla="*/ 15200 h 141"/>
                  <a:gd name="T28" fmla="*/ 28519 w 338"/>
                  <a:gd name="T29" fmla="*/ 12160 h 141"/>
                  <a:gd name="T30" fmla="*/ 25494 w 338"/>
                  <a:gd name="T31" fmla="*/ 9120 h 141"/>
                  <a:gd name="T32" fmla="*/ 21173 w 338"/>
                  <a:gd name="T33" fmla="*/ 17226 h 141"/>
                  <a:gd name="T34" fmla="*/ 15988 w 338"/>
                  <a:gd name="T35" fmla="*/ 25839 h 141"/>
                  <a:gd name="T36" fmla="*/ 12963 w 338"/>
                  <a:gd name="T37" fmla="*/ 30399 h 141"/>
                  <a:gd name="T38" fmla="*/ 9074 w 338"/>
                  <a:gd name="T39" fmla="*/ 34452 h 141"/>
                  <a:gd name="T40" fmla="*/ 4753 w 338"/>
                  <a:gd name="T41" fmla="*/ 37999 h 141"/>
                  <a:gd name="T42" fmla="*/ 0 w 338"/>
                  <a:gd name="T43" fmla="*/ 40532 h 141"/>
                  <a:gd name="T44" fmla="*/ 5185 w 338"/>
                  <a:gd name="T45" fmla="*/ 45599 h 141"/>
                  <a:gd name="T46" fmla="*/ 9938 w 338"/>
                  <a:gd name="T47" fmla="*/ 50665 h 141"/>
                  <a:gd name="T48" fmla="*/ 14259 w 338"/>
                  <a:gd name="T49" fmla="*/ 54718 h 141"/>
                  <a:gd name="T50" fmla="*/ 19012 w 338"/>
                  <a:gd name="T51" fmla="*/ 58772 h 141"/>
                  <a:gd name="T52" fmla="*/ 23766 w 338"/>
                  <a:gd name="T53" fmla="*/ 61812 h 141"/>
                  <a:gd name="T54" fmla="*/ 28519 w 338"/>
                  <a:gd name="T55" fmla="*/ 65358 h 141"/>
                  <a:gd name="T56" fmla="*/ 34136 w 338"/>
                  <a:gd name="T57" fmla="*/ 68398 h 141"/>
                  <a:gd name="T58" fmla="*/ 40185 w 338"/>
                  <a:gd name="T59" fmla="*/ 71438 h 141"/>
                  <a:gd name="T60" fmla="*/ 111914 w 338"/>
                  <a:gd name="T61" fmla="*/ 71438 h 141"/>
                  <a:gd name="T62" fmla="*/ 116235 w 338"/>
                  <a:gd name="T63" fmla="*/ 62825 h 141"/>
                  <a:gd name="T64" fmla="*/ 121420 w 338"/>
                  <a:gd name="T65" fmla="*/ 54212 h 141"/>
                  <a:gd name="T66" fmla="*/ 126173 w 338"/>
                  <a:gd name="T67" fmla="*/ 46612 h 141"/>
                  <a:gd name="T68" fmla="*/ 131359 w 338"/>
                  <a:gd name="T69" fmla="*/ 39519 h 141"/>
                  <a:gd name="T70" fmla="*/ 136112 w 338"/>
                  <a:gd name="T71" fmla="*/ 32426 h 141"/>
                  <a:gd name="T72" fmla="*/ 140001 w 338"/>
                  <a:gd name="T73" fmla="*/ 24319 h 141"/>
                  <a:gd name="T74" fmla="*/ 143889 w 338"/>
                  <a:gd name="T75" fmla="*/ 17226 h 141"/>
                  <a:gd name="T76" fmla="*/ 146050 w 338"/>
                  <a:gd name="T77" fmla="*/ 9120 h 141"/>
                  <a:gd name="T78" fmla="*/ 134815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344">
                <a:extLst>
                  <a:ext uri="{FF2B5EF4-FFF2-40B4-BE49-F238E27FC236}">
                    <a16:creationId xmlns:a16="http://schemas.microsoft.com/office/drawing/2014/main" id="{815219C0-44AD-48F3-8239-B43EB64B8B21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4400382" y="2783502"/>
                <a:ext cx="353673" cy="169666"/>
              </a:xfrm>
              <a:custGeom>
                <a:avLst/>
                <a:gdLst>
                  <a:gd name="T0" fmla="*/ 111125 w 259"/>
                  <a:gd name="T1" fmla="*/ 65087 h 129"/>
                  <a:gd name="T2" fmla="*/ 109409 w 259"/>
                  <a:gd name="T3" fmla="*/ 51464 h 129"/>
                  <a:gd name="T4" fmla="*/ 108122 w 259"/>
                  <a:gd name="T5" fmla="*/ 40364 h 129"/>
                  <a:gd name="T6" fmla="*/ 108122 w 259"/>
                  <a:gd name="T7" fmla="*/ 31787 h 129"/>
                  <a:gd name="T8" fmla="*/ 108551 w 259"/>
                  <a:gd name="T9" fmla="*/ 25228 h 129"/>
                  <a:gd name="T10" fmla="*/ 110267 w 259"/>
                  <a:gd name="T11" fmla="*/ 14632 h 129"/>
                  <a:gd name="T12" fmla="*/ 111125 w 259"/>
                  <a:gd name="T13" fmla="*/ 6055 h 129"/>
                  <a:gd name="T14" fmla="*/ 110696 w 259"/>
                  <a:gd name="T15" fmla="*/ 7064 h 129"/>
                  <a:gd name="T16" fmla="*/ 109838 w 259"/>
                  <a:gd name="T17" fmla="*/ 8073 h 129"/>
                  <a:gd name="T18" fmla="*/ 108551 w 259"/>
                  <a:gd name="T19" fmla="*/ 8577 h 129"/>
                  <a:gd name="T20" fmla="*/ 106834 w 259"/>
                  <a:gd name="T21" fmla="*/ 9082 h 129"/>
                  <a:gd name="T22" fmla="*/ 102544 w 259"/>
                  <a:gd name="T23" fmla="*/ 9586 h 129"/>
                  <a:gd name="T24" fmla="*/ 97824 w 259"/>
                  <a:gd name="T25" fmla="*/ 9586 h 129"/>
                  <a:gd name="T26" fmla="*/ 87956 w 259"/>
                  <a:gd name="T27" fmla="*/ 9586 h 129"/>
                  <a:gd name="T28" fmla="*/ 82378 w 259"/>
                  <a:gd name="T29" fmla="*/ 9082 h 129"/>
                  <a:gd name="T30" fmla="*/ 77659 w 259"/>
                  <a:gd name="T31" fmla="*/ 8577 h 129"/>
                  <a:gd name="T32" fmla="*/ 73797 w 259"/>
                  <a:gd name="T33" fmla="*/ 7568 h 129"/>
                  <a:gd name="T34" fmla="*/ 69936 w 259"/>
                  <a:gd name="T35" fmla="*/ 6055 h 129"/>
                  <a:gd name="T36" fmla="*/ 66932 w 259"/>
                  <a:gd name="T37" fmla="*/ 4541 h 129"/>
                  <a:gd name="T38" fmla="*/ 62642 w 259"/>
                  <a:gd name="T39" fmla="*/ 3027 h 129"/>
                  <a:gd name="T40" fmla="*/ 57493 w 259"/>
                  <a:gd name="T41" fmla="*/ 1514 h 129"/>
                  <a:gd name="T42" fmla="*/ 50628 w 259"/>
                  <a:gd name="T43" fmla="*/ 505 h 129"/>
                  <a:gd name="T44" fmla="*/ 42476 w 259"/>
                  <a:gd name="T45" fmla="*/ 0 h 129"/>
                  <a:gd name="T46" fmla="*/ 35611 w 259"/>
                  <a:gd name="T47" fmla="*/ 0 h 129"/>
                  <a:gd name="T48" fmla="*/ 28747 w 259"/>
                  <a:gd name="T49" fmla="*/ 0 h 129"/>
                  <a:gd name="T50" fmla="*/ 21453 w 259"/>
                  <a:gd name="T51" fmla="*/ 0 h 129"/>
                  <a:gd name="T52" fmla="*/ 14588 w 259"/>
                  <a:gd name="T53" fmla="*/ 1009 h 129"/>
                  <a:gd name="T54" fmla="*/ 11584 w 259"/>
                  <a:gd name="T55" fmla="*/ 2018 h 129"/>
                  <a:gd name="T56" fmla="*/ 9010 w 259"/>
                  <a:gd name="T57" fmla="*/ 3027 h 129"/>
                  <a:gd name="T58" fmla="*/ 6007 w 259"/>
                  <a:gd name="T59" fmla="*/ 4541 h 129"/>
                  <a:gd name="T60" fmla="*/ 4291 w 259"/>
                  <a:gd name="T61" fmla="*/ 6559 h 129"/>
                  <a:gd name="T62" fmla="*/ 2145 w 259"/>
                  <a:gd name="T63" fmla="*/ 8577 h 129"/>
                  <a:gd name="T64" fmla="*/ 858 w 259"/>
                  <a:gd name="T65" fmla="*/ 11100 h 129"/>
                  <a:gd name="T66" fmla="*/ 0 w 259"/>
                  <a:gd name="T67" fmla="*/ 14632 h 129"/>
                  <a:gd name="T68" fmla="*/ 0 w 259"/>
                  <a:gd name="T69" fmla="*/ 18164 h 129"/>
                  <a:gd name="T70" fmla="*/ 0 w 259"/>
                  <a:gd name="T71" fmla="*/ 24218 h 129"/>
                  <a:gd name="T72" fmla="*/ 1287 w 259"/>
                  <a:gd name="T73" fmla="*/ 29264 h 129"/>
                  <a:gd name="T74" fmla="*/ 2574 w 259"/>
                  <a:gd name="T75" fmla="*/ 32796 h 129"/>
                  <a:gd name="T76" fmla="*/ 5149 w 259"/>
                  <a:gd name="T77" fmla="*/ 35823 h 129"/>
                  <a:gd name="T78" fmla="*/ 7294 w 259"/>
                  <a:gd name="T79" fmla="*/ 38346 h 129"/>
                  <a:gd name="T80" fmla="*/ 10297 w 259"/>
                  <a:gd name="T81" fmla="*/ 40364 h 129"/>
                  <a:gd name="T82" fmla="*/ 13301 w 259"/>
                  <a:gd name="T83" fmla="*/ 41878 h 129"/>
                  <a:gd name="T84" fmla="*/ 15875 w 259"/>
                  <a:gd name="T85" fmla="*/ 42887 h 129"/>
                  <a:gd name="T86" fmla="*/ 21453 w 259"/>
                  <a:gd name="T87" fmla="*/ 44400 h 129"/>
                  <a:gd name="T88" fmla="*/ 26172 w 259"/>
                  <a:gd name="T89" fmla="*/ 46419 h 129"/>
                  <a:gd name="T90" fmla="*/ 27889 w 259"/>
                  <a:gd name="T91" fmla="*/ 47932 h 129"/>
                  <a:gd name="T92" fmla="*/ 28747 w 259"/>
                  <a:gd name="T93" fmla="*/ 49950 h 129"/>
                  <a:gd name="T94" fmla="*/ 28747 w 259"/>
                  <a:gd name="T95" fmla="*/ 52978 h 129"/>
                  <a:gd name="T96" fmla="*/ 28318 w 259"/>
                  <a:gd name="T97" fmla="*/ 56005 h 129"/>
                  <a:gd name="T98" fmla="*/ 34753 w 259"/>
                  <a:gd name="T99" fmla="*/ 55501 h 129"/>
                  <a:gd name="T100" fmla="*/ 39044 w 259"/>
                  <a:gd name="T101" fmla="*/ 54491 h 129"/>
                  <a:gd name="T102" fmla="*/ 42047 w 259"/>
                  <a:gd name="T103" fmla="*/ 53482 h 129"/>
                  <a:gd name="T104" fmla="*/ 45051 w 259"/>
                  <a:gd name="T105" fmla="*/ 52978 h 129"/>
                  <a:gd name="T106" fmla="*/ 51486 w 259"/>
                  <a:gd name="T107" fmla="*/ 53482 h 129"/>
                  <a:gd name="T108" fmla="*/ 60068 w 259"/>
                  <a:gd name="T109" fmla="*/ 54491 h 129"/>
                  <a:gd name="T110" fmla="*/ 71223 w 259"/>
                  <a:gd name="T111" fmla="*/ 56510 h 129"/>
                  <a:gd name="T112" fmla="*/ 82378 w 259"/>
                  <a:gd name="T113" fmla="*/ 59032 h 129"/>
                  <a:gd name="T114" fmla="*/ 102115 w 259"/>
                  <a:gd name="T115" fmla="*/ 63069 h 129"/>
                  <a:gd name="T116" fmla="*/ 111125 w 259"/>
                  <a:gd name="T117" fmla="*/ 65087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345">
                <a:extLst>
                  <a:ext uri="{FF2B5EF4-FFF2-40B4-BE49-F238E27FC236}">
                    <a16:creationId xmlns:a16="http://schemas.microsoft.com/office/drawing/2014/main" id="{6341CCF2-C0CB-40AC-8C85-85FB2E33A02B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4440801" y="3689769"/>
                <a:ext cx="570928" cy="372439"/>
              </a:xfrm>
              <a:custGeom>
                <a:avLst/>
                <a:gdLst>
                  <a:gd name="T0" fmla="*/ 176432 w 425"/>
                  <a:gd name="T1" fmla="*/ 89297 h 272"/>
                  <a:gd name="T2" fmla="*/ 167991 w 425"/>
                  <a:gd name="T3" fmla="*/ 98752 h 272"/>
                  <a:gd name="T4" fmla="*/ 161659 w 425"/>
                  <a:gd name="T5" fmla="*/ 108207 h 272"/>
                  <a:gd name="T6" fmla="*/ 162081 w 425"/>
                  <a:gd name="T7" fmla="*/ 116086 h 272"/>
                  <a:gd name="T8" fmla="*/ 164192 w 425"/>
                  <a:gd name="T9" fmla="*/ 124490 h 272"/>
                  <a:gd name="T10" fmla="*/ 158283 w 425"/>
                  <a:gd name="T11" fmla="*/ 128167 h 272"/>
                  <a:gd name="T12" fmla="*/ 146464 w 425"/>
                  <a:gd name="T13" fmla="*/ 125016 h 272"/>
                  <a:gd name="T14" fmla="*/ 136756 w 425"/>
                  <a:gd name="T15" fmla="*/ 123440 h 272"/>
                  <a:gd name="T16" fmla="*/ 124516 w 425"/>
                  <a:gd name="T17" fmla="*/ 123440 h 272"/>
                  <a:gd name="T18" fmla="*/ 111009 w 425"/>
                  <a:gd name="T19" fmla="*/ 127642 h 272"/>
                  <a:gd name="T20" fmla="*/ 97924 w 425"/>
                  <a:gd name="T21" fmla="*/ 133420 h 272"/>
                  <a:gd name="T22" fmla="*/ 83151 w 425"/>
                  <a:gd name="T23" fmla="*/ 140249 h 272"/>
                  <a:gd name="T24" fmla="*/ 42209 w 425"/>
                  <a:gd name="T25" fmla="*/ 126066 h 272"/>
                  <a:gd name="T26" fmla="*/ 35877 w 425"/>
                  <a:gd name="T27" fmla="*/ 118712 h 272"/>
                  <a:gd name="T28" fmla="*/ 29546 w 425"/>
                  <a:gd name="T29" fmla="*/ 112409 h 272"/>
                  <a:gd name="T30" fmla="*/ 15617 w 425"/>
                  <a:gd name="T31" fmla="*/ 100853 h 272"/>
                  <a:gd name="T32" fmla="*/ 9286 w 425"/>
                  <a:gd name="T33" fmla="*/ 94550 h 272"/>
                  <a:gd name="T34" fmla="*/ 4643 w 425"/>
                  <a:gd name="T35" fmla="*/ 87721 h 272"/>
                  <a:gd name="T36" fmla="*/ 844 w 425"/>
                  <a:gd name="T37" fmla="*/ 78791 h 272"/>
                  <a:gd name="T38" fmla="*/ 0 w 425"/>
                  <a:gd name="T39" fmla="*/ 67761 h 272"/>
                  <a:gd name="T40" fmla="*/ 21104 w 425"/>
                  <a:gd name="T41" fmla="*/ 34668 h 272"/>
                  <a:gd name="T42" fmla="*/ 29968 w 425"/>
                  <a:gd name="T43" fmla="*/ 18910 h 272"/>
                  <a:gd name="T44" fmla="*/ 33767 w 425"/>
                  <a:gd name="T45" fmla="*/ 11556 h 272"/>
                  <a:gd name="T46" fmla="*/ 35877 w 425"/>
                  <a:gd name="T47" fmla="*/ 3152 h 272"/>
                  <a:gd name="T48" fmla="*/ 51917 w 425"/>
                  <a:gd name="T49" fmla="*/ 5253 h 272"/>
                  <a:gd name="T50" fmla="*/ 64579 w 425"/>
                  <a:gd name="T51" fmla="*/ 9455 h 272"/>
                  <a:gd name="T52" fmla="*/ 75976 w 425"/>
                  <a:gd name="T53" fmla="*/ 14182 h 272"/>
                  <a:gd name="T54" fmla="*/ 86528 w 425"/>
                  <a:gd name="T55" fmla="*/ 16284 h 272"/>
                  <a:gd name="T56" fmla="*/ 90327 w 425"/>
                  <a:gd name="T57" fmla="*/ 15233 h 272"/>
                  <a:gd name="T58" fmla="*/ 93281 w 425"/>
                  <a:gd name="T59" fmla="*/ 13657 h 272"/>
                  <a:gd name="T60" fmla="*/ 97924 w 425"/>
                  <a:gd name="T61" fmla="*/ 7879 h 272"/>
                  <a:gd name="T62" fmla="*/ 102145 w 425"/>
                  <a:gd name="T63" fmla="*/ 2626 h 272"/>
                  <a:gd name="T64" fmla="*/ 105522 w 425"/>
                  <a:gd name="T65" fmla="*/ 1051 h 272"/>
                  <a:gd name="T66" fmla="*/ 109321 w 425"/>
                  <a:gd name="T67" fmla="*/ 0 h 272"/>
                  <a:gd name="T68" fmla="*/ 116074 w 425"/>
                  <a:gd name="T69" fmla="*/ 1051 h 272"/>
                  <a:gd name="T70" fmla="*/ 121983 w 425"/>
                  <a:gd name="T71" fmla="*/ 3677 h 272"/>
                  <a:gd name="T72" fmla="*/ 127470 w 425"/>
                  <a:gd name="T73" fmla="*/ 7879 h 272"/>
                  <a:gd name="T74" fmla="*/ 130847 w 425"/>
                  <a:gd name="T75" fmla="*/ 13657 h 272"/>
                  <a:gd name="T76" fmla="*/ 137178 w 425"/>
                  <a:gd name="T77" fmla="*/ 27840 h 272"/>
                  <a:gd name="T78" fmla="*/ 142243 w 425"/>
                  <a:gd name="T79" fmla="*/ 43073 h 272"/>
                  <a:gd name="T80" fmla="*/ 147308 w 425"/>
                  <a:gd name="T81" fmla="*/ 59356 h 272"/>
                  <a:gd name="T82" fmla="*/ 150263 w 425"/>
                  <a:gd name="T83" fmla="*/ 66185 h 272"/>
                  <a:gd name="T84" fmla="*/ 154062 w 425"/>
                  <a:gd name="T85" fmla="*/ 72488 h 272"/>
                  <a:gd name="T86" fmla="*/ 158705 w 425"/>
                  <a:gd name="T87" fmla="*/ 77216 h 272"/>
                  <a:gd name="T88" fmla="*/ 164192 w 425"/>
                  <a:gd name="T89" fmla="*/ 81943 h 272"/>
                  <a:gd name="T90" fmla="*/ 170945 w 425"/>
                  <a:gd name="T91" fmla="*/ 84044 h 272"/>
                  <a:gd name="T92" fmla="*/ 179387 w 425"/>
                  <a:gd name="T93" fmla="*/ 84569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347">
                <a:extLst>
                  <a:ext uri="{FF2B5EF4-FFF2-40B4-BE49-F238E27FC236}">
                    <a16:creationId xmlns:a16="http://schemas.microsoft.com/office/drawing/2014/main" id="{014335A9-5406-4D1D-8BBE-CEF2C693C749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774264" y="3669079"/>
                <a:ext cx="272833" cy="206909"/>
              </a:xfrm>
              <a:custGeom>
                <a:avLst/>
                <a:gdLst>
                  <a:gd name="T0" fmla="*/ 2679 w 192"/>
                  <a:gd name="T1" fmla="*/ 9793 h 154"/>
                  <a:gd name="T2" fmla="*/ 23217 w 192"/>
                  <a:gd name="T3" fmla="*/ 0 h 154"/>
                  <a:gd name="T4" fmla="*/ 41077 w 192"/>
                  <a:gd name="T5" fmla="*/ 9793 h 154"/>
                  <a:gd name="T6" fmla="*/ 53132 w 192"/>
                  <a:gd name="T7" fmla="*/ 15978 h 154"/>
                  <a:gd name="T8" fmla="*/ 65187 w 192"/>
                  <a:gd name="T9" fmla="*/ 32472 h 154"/>
                  <a:gd name="T10" fmla="*/ 74116 w 192"/>
                  <a:gd name="T11" fmla="*/ 47934 h 154"/>
                  <a:gd name="T12" fmla="*/ 85725 w 192"/>
                  <a:gd name="T13" fmla="*/ 60820 h 154"/>
                  <a:gd name="T14" fmla="*/ 67866 w 192"/>
                  <a:gd name="T15" fmla="*/ 63912 h 154"/>
                  <a:gd name="T16" fmla="*/ 56257 w 192"/>
                  <a:gd name="T17" fmla="*/ 67005 h 154"/>
                  <a:gd name="T18" fmla="*/ 56257 w 192"/>
                  <a:gd name="T19" fmla="*/ 79375 h 154"/>
                  <a:gd name="T20" fmla="*/ 47327 w 192"/>
                  <a:gd name="T21" fmla="*/ 79375 h 154"/>
                  <a:gd name="T22" fmla="*/ 44202 w 192"/>
                  <a:gd name="T23" fmla="*/ 75252 h 154"/>
                  <a:gd name="T24" fmla="*/ 41523 w 192"/>
                  <a:gd name="T25" fmla="*/ 70613 h 154"/>
                  <a:gd name="T26" fmla="*/ 39291 w 192"/>
                  <a:gd name="T27" fmla="*/ 64943 h 154"/>
                  <a:gd name="T28" fmla="*/ 36612 w 192"/>
                  <a:gd name="T29" fmla="*/ 59274 h 154"/>
                  <a:gd name="T30" fmla="*/ 33040 w 192"/>
                  <a:gd name="T31" fmla="*/ 47934 h 154"/>
                  <a:gd name="T32" fmla="*/ 29021 w 192"/>
                  <a:gd name="T33" fmla="*/ 36595 h 154"/>
                  <a:gd name="T34" fmla="*/ 26789 w 192"/>
                  <a:gd name="T35" fmla="*/ 31441 h 154"/>
                  <a:gd name="T36" fmla="*/ 24557 w 192"/>
                  <a:gd name="T37" fmla="*/ 25771 h 154"/>
                  <a:gd name="T38" fmla="*/ 21431 w 192"/>
                  <a:gd name="T39" fmla="*/ 21648 h 154"/>
                  <a:gd name="T40" fmla="*/ 18306 w 192"/>
                  <a:gd name="T41" fmla="*/ 17524 h 154"/>
                  <a:gd name="T42" fmla="*/ 14734 w 192"/>
                  <a:gd name="T43" fmla="*/ 14432 h 154"/>
                  <a:gd name="T44" fmla="*/ 10716 w 192"/>
                  <a:gd name="T45" fmla="*/ 11855 h 154"/>
                  <a:gd name="T46" fmla="*/ 8037 w 192"/>
                  <a:gd name="T47" fmla="*/ 11339 h 154"/>
                  <a:gd name="T48" fmla="*/ 5358 w 192"/>
                  <a:gd name="T49" fmla="*/ 10308 h 154"/>
                  <a:gd name="T50" fmla="*/ 2679 w 192"/>
                  <a:gd name="T51" fmla="*/ 10308 h 154"/>
                  <a:gd name="T52" fmla="*/ 0 w 192"/>
                  <a:gd name="T53" fmla="*/ 9793 h 154"/>
                  <a:gd name="T54" fmla="*/ 2679 w 192"/>
                  <a:gd name="T55" fmla="*/ 9793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Freeform 348">
                <a:extLst>
                  <a:ext uri="{FF2B5EF4-FFF2-40B4-BE49-F238E27FC236}">
                    <a16:creationId xmlns:a16="http://schemas.microsoft.com/office/drawing/2014/main" id="{4BBB9D61-FE01-4BE6-A20F-FDF9C5D5EE56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511536" y="3362852"/>
                <a:ext cx="1212592" cy="645560"/>
              </a:xfrm>
              <a:custGeom>
                <a:avLst/>
                <a:gdLst>
                  <a:gd name="T0" fmla="*/ 170299 w 877"/>
                  <a:gd name="T1" fmla="*/ 179533 h 469"/>
                  <a:gd name="T2" fmla="*/ 138585 w 877"/>
                  <a:gd name="T3" fmla="*/ 133594 h 469"/>
                  <a:gd name="T4" fmla="*/ 89494 w 877"/>
                  <a:gd name="T5" fmla="*/ 127257 h 469"/>
                  <a:gd name="T6" fmla="*/ 82977 w 877"/>
                  <a:gd name="T7" fmla="*/ 128313 h 469"/>
                  <a:gd name="T8" fmla="*/ 77330 w 877"/>
                  <a:gd name="T9" fmla="*/ 132538 h 469"/>
                  <a:gd name="T10" fmla="*/ 70379 w 877"/>
                  <a:gd name="T11" fmla="*/ 140986 h 469"/>
                  <a:gd name="T12" fmla="*/ 65600 w 877"/>
                  <a:gd name="T13" fmla="*/ 143098 h 469"/>
                  <a:gd name="T14" fmla="*/ 52567 w 877"/>
                  <a:gd name="T15" fmla="*/ 141514 h 469"/>
                  <a:gd name="T16" fmla="*/ 34320 w 877"/>
                  <a:gd name="T17" fmla="*/ 134650 h 469"/>
                  <a:gd name="T18" fmla="*/ 11295 w 877"/>
                  <a:gd name="T19" fmla="*/ 130425 h 469"/>
                  <a:gd name="T20" fmla="*/ 3475 w 877"/>
                  <a:gd name="T21" fmla="*/ 111944 h 469"/>
                  <a:gd name="T22" fmla="*/ 5648 w 877"/>
                  <a:gd name="T23" fmla="*/ 98743 h 469"/>
                  <a:gd name="T24" fmla="*/ 5648 w 877"/>
                  <a:gd name="T25" fmla="*/ 95047 h 469"/>
                  <a:gd name="T26" fmla="*/ 9992 w 877"/>
                  <a:gd name="T27" fmla="*/ 76038 h 469"/>
                  <a:gd name="T28" fmla="*/ 19115 w 877"/>
                  <a:gd name="T29" fmla="*/ 59140 h 469"/>
                  <a:gd name="T30" fmla="*/ 23460 w 877"/>
                  <a:gd name="T31" fmla="*/ 48580 h 469"/>
                  <a:gd name="T32" fmla="*/ 11295 w 877"/>
                  <a:gd name="T33" fmla="*/ 26402 h 469"/>
                  <a:gd name="T34" fmla="*/ 75157 w 877"/>
                  <a:gd name="T35" fmla="*/ 13729 h 469"/>
                  <a:gd name="T36" fmla="*/ 147274 w 877"/>
                  <a:gd name="T37" fmla="*/ 26402 h 469"/>
                  <a:gd name="T38" fmla="*/ 170299 w 877"/>
                  <a:gd name="T39" fmla="*/ 6864 h 469"/>
                  <a:gd name="T40" fmla="*/ 210701 w 877"/>
                  <a:gd name="T41" fmla="*/ 0 h 469"/>
                  <a:gd name="T42" fmla="*/ 251538 w 877"/>
                  <a:gd name="T43" fmla="*/ 20065 h 469"/>
                  <a:gd name="T44" fmla="*/ 277170 w 877"/>
                  <a:gd name="T45" fmla="*/ 58612 h 469"/>
                  <a:gd name="T46" fmla="*/ 314966 w 877"/>
                  <a:gd name="T47" fmla="*/ 58612 h 469"/>
                  <a:gd name="T48" fmla="*/ 364057 w 877"/>
                  <a:gd name="T49" fmla="*/ 81846 h 469"/>
                  <a:gd name="T50" fmla="*/ 375352 w 877"/>
                  <a:gd name="T51" fmla="*/ 124089 h 469"/>
                  <a:gd name="T52" fmla="*/ 349286 w 877"/>
                  <a:gd name="T53" fmla="*/ 143626 h 469"/>
                  <a:gd name="T54" fmla="*/ 327564 w 877"/>
                  <a:gd name="T55" fmla="*/ 165276 h 469"/>
                  <a:gd name="T56" fmla="*/ 298892 w 877"/>
                  <a:gd name="T57" fmla="*/ 174253 h 469"/>
                  <a:gd name="T58" fmla="*/ 288031 w 877"/>
                  <a:gd name="T59" fmla="*/ 181117 h 469"/>
                  <a:gd name="T60" fmla="*/ 281514 w 877"/>
                  <a:gd name="T61" fmla="*/ 189038 h 469"/>
                  <a:gd name="T62" fmla="*/ 280645 w 877"/>
                  <a:gd name="T63" fmla="*/ 198014 h 469"/>
                  <a:gd name="T64" fmla="*/ 283686 w 877"/>
                  <a:gd name="T65" fmla="*/ 205935 h 469"/>
                  <a:gd name="T66" fmla="*/ 289334 w 877"/>
                  <a:gd name="T67" fmla="*/ 211743 h 469"/>
                  <a:gd name="T68" fmla="*/ 308884 w 877"/>
                  <a:gd name="T69" fmla="*/ 209103 h 469"/>
                  <a:gd name="T70" fmla="*/ 321917 w 877"/>
                  <a:gd name="T71" fmla="*/ 208047 h 469"/>
                  <a:gd name="T72" fmla="*/ 318876 w 877"/>
                  <a:gd name="T73" fmla="*/ 212799 h 469"/>
                  <a:gd name="T74" fmla="*/ 311056 w 877"/>
                  <a:gd name="T75" fmla="*/ 222304 h 469"/>
                  <a:gd name="T76" fmla="*/ 303236 w 877"/>
                  <a:gd name="T77" fmla="*/ 231281 h 469"/>
                  <a:gd name="T78" fmla="*/ 299326 w 877"/>
                  <a:gd name="T79" fmla="*/ 221248 h 469"/>
                  <a:gd name="T80" fmla="*/ 291506 w 877"/>
                  <a:gd name="T81" fmla="*/ 215440 h 469"/>
                  <a:gd name="T82" fmla="*/ 289334 w 877"/>
                  <a:gd name="T83" fmla="*/ 223360 h 469"/>
                  <a:gd name="T84" fmla="*/ 279342 w 877"/>
                  <a:gd name="T85" fmla="*/ 233393 h 469"/>
                  <a:gd name="T86" fmla="*/ 268916 w 877"/>
                  <a:gd name="T87" fmla="*/ 242898 h 469"/>
                  <a:gd name="T88" fmla="*/ 265440 w 877"/>
                  <a:gd name="T89" fmla="*/ 247650 h 469"/>
                  <a:gd name="T90" fmla="*/ 258489 w 877"/>
                  <a:gd name="T91" fmla="*/ 245010 h 469"/>
                  <a:gd name="T92" fmla="*/ 253710 w 877"/>
                  <a:gd name="T93" fmla="*/ 240257 h 469"/>
                  <a:gd name="T94" fmla="*/ 249800 w 877"/>
                  <a:gd name="T95" fmla="*/ 231809 h 469"/>
                  <a:gd name="T96" fmla="*/ 248497 w 877"/>
                  <a:gd name="T97" fmla="*/ 215440 h 469"/>
                  <a:gd name="T98" fmla="*/ 238071 w 877"/>
                  <a:gd name="T99" fmla="*/ 213328 h 469"/>
                  <a:gd name="T100" fmla="*/ 225038 w 877"/>
                  <a:gd name="T101" fmla="*/ 205407 h 469"/>
                  <a:gd name="T102" fmla="*/ 242849 w 877"/>
                  <a:gd name="T103" fmla="*/ 200127 h 469"/>
                  <a:gd name="T104" fmla="*/ 271522 w 877"/>
                  <a:gd name="T105" fmla="*/ 195374 h 469"/>
                  <a:gd name="T106" fmla="*/ 214177 w 877"/>
                  <a:gd name="T107" fmla="*/ 186926 h 469"/>
                  <a:gd name="T108" fmla="*/ 193324 w 877"/>
                  <a:gd name="T109" fmla="*/ 175837 h 469"/>
                  <a:gd name="T110" fmla="*/ 172905 w 877"/>
                  <a:gd name="T111" fmla="*/ 194846 h 469"/>
                  <a:gd name="T112" fmla="*/ 165086 w 877"/>
                  <a:gd name="T113" fmla="*/ 208575 h 469"/>
                  <a:gd name="T114" fmla="*/ 153356 w 877"/>
                  <a:gd name="T115" fmla="*/ 211215 h 469"/>
                  <a:gd name="T116" fmla="*/ 142495 w 877"/>
                  <a:gd name="T117" fmla="*/ 206991 h 469"/>
                  <a:gd name="T118" fmla="*/ 132937 w 877"/>
                  <a:gd name="T119" fmla="*/ 198542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Freeform 354">
                <a:extLst>
                  <a:ext uri="{FF2B5EF4-FFF2-40B4-BE49-F238E27FC236}">
                    <a16:creationId xmlns:a16="http://schemas.microsoft.com/office/drawing/2014/main" id="{9D279D62-0A9D-48E1-B250-CB58881B2254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405433" y="4136695"/>
                <a:ext cx="217258" cy="157253"/>
              </a:xfrm>
              <a:custGeom>
                <a:avLst/>
                <a:gdLst>
                  <a:gd name="T0" fmla="*/ 48637 w 160"/>
                  <a:gd name="T1" fmla="*/ 0 h 117"/>
                  <a:gd name="T2" fmla="*/ 48637 w 160"/>
                  <a:gd name="T3" fmla="*/ 4640 h 117"/>
                  <a:gd name="T4" fmla="*/ 48637 w 160"/>
                  <a:gd name="T5" fmla="*/ 9281 h 117"/>
                  <a:gd name="T6" fmla="*/ 49064 w 160"/>
                  <a:gd name="T7" fmla="*/ 12890 h 117"/>
                  <a:gd name="T8" fmla="*/ 49917 w 160"/>
                  <a:gd name="T9" fmla="*/ 16499 h 117"/>
                  <a:gd name="T10" fmla="*/ 50771 w 160"/>
                  <a:gd name="T11" fmla="*/ 17530 h 117"/>
                  <a:gd name="T12" fmla="*/ 51624 w 160"/>
                  <a:gd name="T13" fmla="*/ 19077 h 117"/>
                  <a:gd name="T14" fmla="*/ 52477 w 160"/>
                  <a:gd name="T15" fmla="*/ 19593 h 117"/>
                  <a:gd name="T16" fmla="*/ 54184 w 160"/>
                  <a:gd name="T17" fmla="*/ 20108 h 117"/>
                  <a:gd name="T18" fmla="*/ 55890 w 160"/>
                  <a:gd name="T19" fmla="*/ 20624 h 117"/>
                  <a:gd name="T20" fmla="*/ 57597 w 160"/>
                  <a:gd name="T21" fmla="*/ 20108 h 117"/>
                  <a:gd name="T22" fmla="*/ 59730 w 160"/>
                  <a:gd name="T23" fmla="*/ 19593 h 117"/>
                  <a:gd name="T24" fmla="*/ 62290 w 160"/>
                  <a:gd name="T25" fmla="*/ 18562 h 117"/>
                  <a:gd name="T26" fmla="*/ 63570 w 160"/>
                  <a:gd name="T27" fmla="*/ 22171 h 117"/>
                  <a:gd name="T28" fmla="*/ 65276 w 160"/>
                  <a:gd name="T29" fmla="*/ 26811 h 117"/>
                  <a:gd name="T30" fmla="*/ 66983 w 160"/>
                  <a:gd name="T31" fmla="*/ 32998 h 117"/>
                  <a:gd name="T32" fmla="*/ 68263 w 160"/>
                  <a:gd name="T33" fmla="*/ 38154 h 117"/>
                  <a:gd name="T34" fmla="*/ 56744 w 160"/>
                  <a:gd name="T35" fmla="*/ 45373 h 117"/>
                  <a:gd name="T36" fmla="*/ 45224 w 160"/>
                  <a:gd name="T37" fmla="*/ 52591 h 117"/>
                  <a:gd name="T38" fmla="*/ 39251 w 160"/>
                  <a:gd name="T39" fmla="*/ 55169 h 117"/>
                  <a:gd name="T40" fmla="*/ 32425 w 160"/>
                  <a:gd name="T41" fmla="*/ 58263 h 117"/>
                  <a:gd name="T42" fmla="*/ 26452 w 160"/>
                  <a:gd name="T43" fmla="*/ 59809 h 117"/>
                  <a:gd name="T44" fmla="*/ 20052 w 160"/>
                  <a:gd name="T45" fmla="*/ 60325 h 117"/>
                  <a:gd name="T46" fmla="*/ 13653 w 160"/>
                  <a:gd name="T47" fmla="*/ 51044 h 117"/>
                  <a:gd name="T48" fmla="*/ 8960 w 160"/>
                  <a:gd name="T49" fmla="*/ 42795 h 117"/>
                  <a:gd name="T50" fmla="*/ 4266 w 160"/>
                  <a:gd name="T51" fmla="*/ 35576 h 117"/>
                  <a:gd name="T52" fmla="*/ 0 w 160"/>
                  <a:gd name="T53" fmla="*/ 28358 h 117"/>
                  <a:gd name="T54" fmla="*/ 5546 w 160"/>
                  <a:gd name="T55" fmla="*/ 24749 h 117"/>
                  <a:gd name="T56" fmla="*/ 17492 w 160"/>
                  <a:gd name="T57" fmla="*/ 16499 h 117"/>
                  <a:gd name="T58" fmla="*/ 25599 w 160"/>
                  <a:gd name="T59" fmla="*/ 11859 h 117"/>
                  <a:gd name="T60" fmla="*/ 33278 w 160"/>
                  <a:gd name="T61" fmla="*/ 7218 h 117"/>
                  <a:gd name="T62" fmla="*/ 41384 w 160"/>
                  <a:gd name="T63" fmla="*/ 3094 h 117"/>
                  <a:gd name="T64" fmla="*/ 48637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Freeform 437">
                <a:extLst>
                  <a:ext uri="{FF2B5EF4-FFF2-40B4-BE49-F238E27FC236}">
                    <a16:creationId xmlns:a16="http://schemas.microsoft.com/office/drawing/2014/main" id="{856C1AD0-075B-4E10-BB98-EB1E46D8E922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2995796" y="4136695"/>
                <a:ext cx="50524" cy="148976"/>
              </a:xfrm>
              <a:custGeom>
                <a:avLst/>
                <a:gdLst>
                  <a:gd name="T0" fmla="*/ 9172 w 45"/>
                  <a:gd name="T1" fmla="*/ 0 h 36"/>
                  <a:gd name="T2" fmla="*/ 0 w 45"/>
                  <a:gd name="T3" fmla="*/ 28575 h 36"/>
                  <a:gd name="T4" fmla="*/ 8114 w 45"/>
                  <a:gd name="T5" fmla="*/ 57150 h 36"/>
                  <a:gd name="T6" fmla="*/ 15875 w 45"/>
                  <a:gd name="T7" fmla="*/ 23813 h 36"/>
                  <a:gd name="T8" fmla="*/ 9172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443">
                <a:extLst>
                  <a:ext uri="{FF2B5EF4-FFF2-40B4-BE49-F238E27FC236}">
                    <a16:creationId xmlns:a16="http://schemas.microsoft.com/office/drawing/2014/main" id="{6F1DB0E8-B1B8-4EF6-B05B-0342EF12A821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511536" y="3056626"/>
                <a:ext cx="666927" cy="393129"/>
              </a:xfrm>
              <a:custGeom>
                <a:avLst/>
                <a:gdLst>
                  <a:gd name="T0" fmla="*/ 108880 w 485"/>
                  <a:gd name="T1" fmla="*/ 10365 h 291"/>
                  <a:gd name="T2" fmla="*/ 129619 w 485"/>
                  <a:gd name="T3" fmla="*/ 22803 h 291"/>
                  <a:gd name="T4" fmla="*/ 160727 w 485"/>
                  <a:gd name="T5" fmla="*/ 22803 h 291"/>
                  <a:gd name="T6" fmla="*/ 183626 w 485"/>
                  <a:gd name="T7" fmla="*/ 67891 h 291"/>
                  <a:gd name="T8" fmla="*/ 209550 w 485"/>
                  <a:gd name="T9" fmla="*/ 86548 h 291"/>
                  <a:gd name="T10" fmla="*/ 178009 w 485"/>
                  <a:gd name="T11" fmla="*/ 89658 h 291"/>
                  <a:gd name="T12" fmla="*/ 187083 w 485"/>
                  <a:gd name="T13" fmla="*/ 108833 h 291"/>
                  <a:gd name="T14" fmla="*/ 169368 w 485"/>
                  <a:gd name="T15" fmla="*/ 124899 h 291"/>
                  <a:gd name="T16" fmla="*/ 166344 w 485"/>
                  <a:gd name="T17" fmla="*/ 150812 h 291"/>
                  <a:gd name="T18" fmla="*/ 123138 w 485"/>
                  <a:gd name="T19" fmla="*/ 137856 h 291"/>
                  <a:gd name="T20" fmla="*/ 74747 w 485"/>
                  <a:gd name="T21" fmla="*/ 131637 h 291"/>
                  <a:gd name="T22" fmla="*/ 25924 w 485"/>
                  <a:gd name="T23" fmla="*/ 137856 h 291"/>
                  <a:gd name="T24" fmla="*/ 6481 w 485"/>
                  <a:gd name="T25" fmla="*/ 140447 h 291"/>
                  <a:gd name="T26" fmla="*/ 3456 w 485"/>
                  <a:gd name="T27" fmla="*/ 133191 h 291"/>
                  <a:gd name="T28" fmla="*/ 1296 w 485"/>
                  <a:gd name="T29" fmla="*/ 126454 h 291"/>
                  <a:gd name="T30" fmla="*/ 0 w 485"/>
                  <a:gd name="T31" fmla="*/ 118680 h 291"/>
                  <a:gd name="T32" fmla="*/ 2160 w 485"/>
                  <a:gd name="T33" fmla="*/ 113498 h 291"/>
                  <a:gd name="T34" fmla="*/ 6049 w 485"/>
                  <a:gd name="T35" fmla="*/ 107279 h 291"/>
                  <a:gd name="T36" fmla="*/ 9937 w 485"/>
                  <a:gd name="T37" fmla="*/ 97950 h 291"/>
                  <a:gd name="T38" fmla="*/ 13394 w 485"/>
                  <a:gd name="T39" fmla="*/ 86030 h 291"/>
                  <a:gd name="T40" fmla="*/ 17715 w 485"/>
                  <a:gd name="T41" fmla="*/ 71001 h 291"/>
                  <a:gd name="T42" fmla="*/ 20739 w 485"/>
                  <a:gd name="T43" fmla="*/ 65300 h 291"/>
                  <a:gd name="T44" fmla="*/ 25924 w 485"/>
                  <a:gd name="T45" fmla="*/ 61672 h 291"/>
                  <a:gd name="T46" fmla="*/ 37589 w 485"/>
                  <a:gd name="T47" fmla="*/ 57526 h 291"/>
                  <a:gd name="T48" fmla="*/ 38454 w 485"/>
                  <a:gd name="T49" fmla="*/ 54935 h 291"/>
                  <a:gd name="T50" fmla="*/ 40614 w 485"/>
                  <a:gd name="T51" fmla="*/ 51825 h 291"/>
                  <a:gd name="T52" fmla="*/ 43638 w 485"/>
                  <a:gd name="T53" fmla="*/ 49234 h 291"/>
                  <a:gd name="T54" fmla="*/ 45799 w 485"/>
                  <a:gd name="T55" fmla="*/ 48198 h 291"/>
                  <a:gd name="T56" fmla="*/ 45799 w 485"/>
                  <a:gd name="T57" fmla="*/ 39387 h 291"/>
                  <a:gd name="T58" fmla="*/ 47095 w 485"/>
                  <a:gd name="T59" fmla="*/ 36278 h 291"/>
                  <a:gd name="T60" fmla="*/ 48823 w 485"/>
                  <a:gd name="T61" fmla="*/ 34723 h 291"/>
                  <a:gd name="T62" fmla="*/ 52712 w 485"/>
                  <a:gd name="T63" fmla="*/ 35760 h 291"/>
                  <a:gd name="T64" fmla="*/ 55304 w 485"/>
                  <a:gd name="T65" fmla="*/ 35760 h 291"/>
                  <a:gd name="T66" fmla="*/ 57032 w 485"/>
                  <a:gd name="T67" fmla="*/ 34205 h 291"/>
                  <a:gd name="T68" fmla="*/ 57896 w 485"/>
                  <a:gd name="T69" fmla="*/ 29022 h 291"/>
                  <a:gd name="T70" fmla="*/ 60057 w 485"/>
                  <a:gd name="T71" fmla="*/ 22803 h 291"/>
                  <a:gd name="T72" fmla="*/ 62217 w 485"/>
                  <a:gd name="T73" fmla="*/ 20212 h 291"/>
                  <a:gd name="T74" fmla="*/ 92029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444">
                <a:extLst>
                  <a:ext uri="{FF2B5EF4-FFF2-40B4-BE49-F238E27FC236}">
                    <a16:creationId xmlns:a16="http://schemas.microsoft.com/office/drawing/2014/main" id="{6BE573E4-F4B5-44FD-822F-E4F555C445DA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056814" y="3921509"/>
                <a:ext cx="262728" cy="227603"/>
              </a:xfrm>
              <a:custGeom>
                <a:avLst/>
                <a:gdLst>
                  <a:gd name="T0" fmla="*/ 38168 w 186"/>
                  <a:gd name="T1" fmla="*/ 77319 h 166"/>
                  <a:gd name="T2" fmla="*/ 36837 w 186"/>
                  <a:gd name="T3" fmla="*/ 71534 h 166"/>
                  <a:gd name="T4" fmla="*/ 34618 w 186"/>
                  <a:gd name="T5" fmla="*/ 66800 h 166"/>
                  <a:gd name="T6" fmla="*/ 32842 w 186"/>
                  <a:gd name="T7" fmla="*/ 62066 h 166"/>
                  <a:gd name="T8" fmla="*/ 31067 w 186"/>
                  <a:gd name="T9" fmla="*/ 57858 h 166"/>
                  <a:gd name="T10" fmla="*/ 26629 w 186"/>
                  <a:gd name="T11" fmla="*/ 49968 h 166"/>
                  <a:gd name="T12" fmla="*/ 21747 w 186"/>
                  <a:gd name="T13" fmla="*/ 43131 h 166"/>
                  <a:gd name="T14" fmla="*/ 16421 w 186"/>
                  <a:gd name="T15" fmla="*/ 36819 h 166"/>
                  <a:gd name="T16" fmla="*/ 11095 w 186"/>
                  <a:gd name="T17" fmla="*/ 29455 h 166"/>
                  <a:gd name="T18" fmla="*/ 5770 w 186"/>
                  <a:gd name="T19" fmla="*/ 19987 h 166"/>
                  <a:gd name="T20" fmla="*/ 0 w 186"/>
                  <a:gd name="T21" fmla="*/ 9468 h 166"/>
                  <a:gd name="T22" fmla="*/ 0 w 186"/>
                  <a:gd name="T23" fmla="*/ 0 h 166"/>
                  <a:gd name="T24" fmla="*/ 3107 w 186"/>
                  <a:gd name="T25" fmla="*/ 1052 h 166"/>
                  <a:gd name="T26" fmla="*/ 6213 w 186"/>
                  <a:gd name="T27" fmla="*/ 1578 h 166"/>
                  <a:gd name="T28" fmla="*/ 8876 w 186"/>
                  <a:gd name="T29" fmla="*/ 2104 h 166"/>
                  <a:gd name="T30" fmla="*/ 11983 w 186"/>
                  <a:gd name="T31" fmla="*/ 2104 h 166"/>
                  <a:gd name="T32" fmla="*/ 14646 w 186"/>
                  <a:gd name="T33" fmla="*/ 2104 h 166"/>
                  <a:gd name="T34" fmla="*/ 17753 w 186"/>
                  <a:gd name="T35" fmla="*/ 1578 h 166"/>
                  <a:gd name="T36" fmla="*/ 20859 w 186"/>
                  <a:gd name="T37" fmla="*/ 1052 h 166"/>
                  <a:gd name="T38" fmla="*/ 23522 w 186"/>
                  <a:gd name="T39" fmla="*/ 0 h 166"/>
                  <a:gd name="T40" fmla="*/ 62134 w 186"/>
                  <a:gd name="T41" fmla="*/ 6312 h 166"/>
                  <a:gd name="T42" fmla="*/ 82550 w 186"/>
                  <a:gd name="T43" fmla="*/ 47864 h 166"/>
                  <a:gd name="T44" fmla="*/ 75893 w 186"/>
                  <a:gd name="T45" fmla="*/ 58910 h 166"/>
                  <a:gd name="T46" fmla="*/ 68792 w 186"/>
                  <a:gd name="T47" fmla="*/ 67852 h 166"/>
                  <a:gd name="T48" fmla="*/ 66129 w 186"/>
                  <a:gd name="T49" fmla="*/ 72060 h 166"/>
                  <a:gd name="T50" fmla="*/ 63910 w 186"/>
                  <a:gd name="T51" fmla="*/ 76267 h 166"/>
                  <a:gd name="T52" fmla="*/ 63022 w 186"/>
                  <a:gd name="T53" fmla="*/ 78897 h 166"/>
                  <a:gd name="T54" fmla="*/ 62578 w 186"/>
                  <a:gd name="T55" fmla="*/ 82053 h 166"/>
                  <a:gd name="T56" fmla="*/ 62134 w 186"/>
                  <a:gd name="T57" fmla="*/ 84683 h 166"/>
                  <a:gd name="T58" fmla="*/ 62134 w 186"/>
                  <a:gd name="T59" fmla="*/ 87313 h 166"/>
                  <a:gd name="T60" fmla="*/ 38168 w 186"/>
                  <a:gd name="T61" fmla="*/ 77319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Freeform 446">
                <a:extLst>
                  <a:ext uri="{FF2B5EF4-FFF2-40B4-BE49-F238E27FC236}">
                    <a16:creationId xmlns:a16="http://schemas.microsoft.com/office/drawing/2014/main" id="{564670FD-F9D4-4641-A8E0-60FD1058C80C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562060" y="4012549"/>
                <a:ext cx="424408" cy="252431"/>
              </a:xfrm>
              <a:custGeom>
                <a:avLst/>
                <a:gdLst>
                  <a:gd name="T0" fmla="*/ 33873 w 311"/>
                  <a:gd name="T1" fmla="*/ 20558 h 179"/>
                  <a:gd name="T2" fmla="*/ 49309 w 311"/>
                  <a:gd name="T3" fmla="*/ 14066 h 179"/>
                  <a:gd name="T4" fmla="*/ 63459 w 311"/>
                  <a:gd name="T5" fmla="*/ 7574 h 179"/>
                  <a:gd name="T6" fmla="*/ 76323 w 311"/>
                  <a:gd name="T7" fmla="*/ 2164 h 179"/>
                  <a:gd name="T8" fmla="*/ 90472 w 311"/>
                  <a:gd name="T9" fmla="*/ 0 h 179"/>
                  <a:gd name="T10" fmla="*/ 101192 w 311"/>
                  <a:gd name="T11" fmla="*/ 1082 h 179"/>
                  <a:gd name="T12" fmla="*/ 109767 w 311"/>
                  <a:gd name="T13" fmla="*/ 3246 h 179"/>
                  <a:gd name="T14" fmla="*/ 125203 w 311"/>
                  <a:gd name="T15" fmla="*/ 6492 h 179"/>
                  <a:gd name="T16" fmla="*/ 123059 w 311"/>
                  <a:gd name="T17" fmla="*/ 15148 h 179"/>
                  <a:gd name="T18" fmla="*/ 119200 w 311"/>
                  <a:gd name="T19" fmla="*/ 22722 h 179"/>
                  <a:gd name="T20" fmla="*/ 115341 w 311"/>
                  <a:gd name="T21" fmla="*/ 28673 h 179"/>
                  <a:gd name="T22" fmla="*/ 113626 w 311"/>
                  <a:gd name="T23" fmla="*/ 33542 h 179"/>
                  <a:gd name="T24" fmla="*/ 114055 w 311"/>
                  <a:gd name="T25" fmla="*/ 35706 h 179"/>
                  <a:gd name="T26" fmla="*/ 116199 w 311"/>
                  <a:gd name="T27" fmla="*/ 38411 h 179"/>
                  <a:gd name="T28" fmla="*/ 122202 w 311"/>
                  <a:gd name="T29" fmla="*/ 42739 h 179"/>
                  <a:gd name="T30" fmla="*/ 133350 w 311"/>
                  <a:gd name="T31" fmla="*/ 50312 h 179"/>
                  <a:gd name="T32" fmla="*/ 123059 w 311"/>
                  <a:gd name="T33" fmla="*/ 57886 h 179"/>
                  <a:gd name="T34" fmla="*/ 120487 w 311"/>
                  <a:gd name="T35" fmla="*/ 62214 h 179"/>
                  <a:gd name="T36" fmla="*/ 119200 w 311"/>
                  <a:gd name="T37" fmla="*/ 69788 h 179"/>
                  <a:gd name="T38" fmla="*/ 108052 w 311"/>
                  <a:gd name="T39" fmla="*/ 73575 h 179"/>
                  <a:gd name="T40" fmla="*/ 90472 w 311"/>
                  <a:gd name="T41" fmla="*/ 80067 h 179"/>
                  <a:gd name="T42" fmla="*/ 81897 w 311"/>
                  <a:gd name="T43" fmla="*/ 90887 h 179"/>
                  <a:gd name="T44" fmla="*/ 76323 w 311"/>
                  <a:gd name="T45" fmla="*/ 95215 h 179"/>
                  <a:gd name="T46" fmla="*/ 70748 w 311"/>
                  <a:gd name="T47" fmla="*/ 96838 h 179"/>
                  <a:gd name="T48" fmla="*/ 64745 w 311"/>
                  <a:gd name="T49" fmla="*/ 94674 h 179"/>
                  <a:gd name="T50" fmla="*/ 58743 w 311"/>
                  <a:gd name="T51" fmla="*/ 90346 h 179"/>
                  <a:gd name="T52" fmla="*/ 51453 w 311"/>
                  <a:gd name="T53" fmla="*/ 85477 h 179"/>
                  <a:gd name="T54" fmla="*/ 42020 w 311"/>
                  <a:gd name="T55" fmla="*/ 83854 h 179"/>
                  <a:gd name="T56" fmla="*/ 28299 w 311"/>
                  <a:gd name="T57" fmla="*/ 83854 h 179"/>
                  <a:gd name="T58" fmla="*/ 21868 w 311"/>
                  <a:gd name="T59" fmla="*/ 84936 h 179"/>
                  <a:gd name="T60" fmla="*/ 16722 w 311"/>
                  <a:gd name="T61" fmla="*/ 87100 h 179"/>
                  <a:gd name="T62" fmla="*/ 15436 w 311"/>
                  <a:gd name="T63" fmla="*/ 76821 h 179"/>
                  <a:gd name="T64" fmla="*/ 13721 w 311"/>
                  <a:gd name="T65" fmla="*/ 66542 h 179"/>
                  <a:gd name="T66" fmla="*/ 9004 w 311"/>
                  <a:gd name="T67" fmla="*/ 69247 h 179"/>
                  <a:gd name="T68" fmla="*/ 5574 w 311"/>
                  <a:gd name="T69" fmla="*/ 69788 h 179"/>
                  <a:gd name="T70" fmla="*/ 3001 w 311"/>
                  <a:gd name="T71" fmla="*/ 68165 h 179"/>
                  <a:gd name="T72" fmla="*/ 1286 w 311"/>
                  <a:gd name="T73" fmla="*/ 65460 h 179"/>
                  <a:gd name="T74" fmla="*/ 0 w 311"/>
                  <a:gd name="T75" fmla="*/ 56804 h 179"/>
                  <a:gd name="T76" fmla="*/ 0 w 311"/>
                  <a:gd name="T77" fmla="*/ 47067 h 179"/>
                  <a:gd name="T78" fmla="*/ 1286 w 311"/>
                  <a:gd name="T79" fmla="*/ 44362 h 179"/>
                  <a:gd name="T80" fmla="*/ 5574 w 311"/>
                  <a:gd name="T81" fmla="*/ 42198 h 179"/>
                  <a:gd name="T82" fmla="*/ 9004 w 311"/>
                  <a:gd name="T83" fmla="*/ 38952 h 179"/>
                  <a:gd name="T84" fmla="*/ 10719 w 311"/>
                  <a:gd name="T85" fmla="*/ 36788 h 179"/>
                  <a:gd name="T86" fmla="*/ 11148 w 311"/>
                  <a:gd name="T87" fmla="*/ 33542 h 179"/>
                  <a:gd name="T88" fmla="*/ 10291 w 311"/>
                  <a:gd name="T89" fmla="*/ 27591 h 179"/>
                  <a:gd name="T90" fmla="*/ 8147 w 311"/>
                  <a:gd name="T91" fmla="*/ 23263 h 179"/>
                  <a:gd name="T92" fmla="*/ 3430 w 311"/>
                  <a:gd name="T93" fmla="*/ 15689 h 179"/>
                  <a:gd name="T94" fmla="*/ 429 w 311"/>
                  <a:gd name="T95" fmla="*/ 9738 h 179"/>
                  <a:gd name="T96" fmla="*/ 429 w 311"/>
                  <a:gd name="T97" fmla="*/ 7033 h 179"/>
                  <a:gd name="T98" fmla="*/ 2573 w 311"/>
                  <a:gd name="T99" fmla="*/ 3246 h 179"/>
                  <a:gd name="T100" fmla="*/ 0 w 311"/>
                  <a:gd name="T101" fmla="*/ 3246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452">
                <a:extLst>
                  <a:ext uri="{FF2B5EF4-FFF2-40B4-BE49-F238E27FC236}">
                    <a16:creationId xmlns:a16="http://schemas.microsoft.com/office/drawing/2014/main" id="{3AFA4D87-C68B-4C78-977E-AE42C79AE928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3905241" y="3826332"/>
                <a:ext cx="404196" cy="297950"/>
              </a:xfrm>
              <a:custGeom>
                <a:avLst/>
                <a:gdLst>
                  <a:gd name="T0" fmla="*/ 112647 w 292"/>
                  <a:gd name="T1" fmla="*/ 47668 h 223"/>
                  <a:gd name="T2" fmla="*/ 72199 w 292"/>
                  <a:gd name="T3" fmla="*/ 39467 h 223"/>
                  <a:gd name="T4" fmla="*/ 66110 w 292"/>
                  <a:gd name="T5" fmla="*/ 40492 h 223"/>
                  <a:gd name="T6" fmla="*/ 60455 w 292"/>
                  <a:gd name="T7" fmla="*/ 40492 h 223"/>
                  <a:gd name="T8" fmla="*/ 54801 w 292"/>
                  <a:gd name="T9" fmla="*/ 39467 h 223"/>
                  <a:gd name="T10" fmla="*/ 51757 w 292"/>
                  <a:gd name="T11" fmla="*/ 47668 h 223"/>
                  <a:gd name="T12" fmla="*/ 62630 w 292"/>
                  <a:gd name="T13" fmla="*/ 67145 h 223"/>
                  <a:gd name="T14" fmla="*/ 73068 w 292"/>
                  <a:gd name="T15" fmla="*/ 80471 h 223"/>
                  <a:gd name="T16" fmla="*/ 82202 w 292"/>
                  <a:gd name="T17" fmla="*/ 94823 h 223"/>
                  <a:gd name="T18" fmla="*/ 85682 w 292"/>
                  <a:gd name="T19" fmla="*/ 103536 h 223"/>
                  <a:gd name="T20" fmla="*/ 89161 w 292"/>
                  <a:gd name="T21" fmla="*/ 113787 h 223"/>
                  <a:gd name="T22" fmla="*/ 76113 w 292"/>
                  <a:gd name="T23" fmla="*/ 114300 h 223"/>
                  <a:gd name="T24" fmla="*/ 70024 w 292"/>
                  <a:gd name="T25" fmla="*/ 113787 h 223"/>
                  <a:gd name="T26" fmla="*/ 63500 w 292"/>
                  <a:gd name="T27" fmla="*/ 110712 h 223"/>
                  <a:gd name="T28" fmla="*/ 58281 w 292"/>
                  <a:gd name="T29" fmla="*/ 107124 h 223"/>
                  <a:gd name="T30" fmla="*/ 55236 w 292"/>
                  <a:gd name="T31" fmla="*/ 101486 h 223"/>
                  <a:gd name="T32" fmla="*/ 52627 w 292"/>
                  <a:gd name="T33" fmla="*/ 95848 h 223"/>
                  <a:gd name="T34" fmla="*/ 49147 w 292"/>
                  <a:gd name="T35" fmla="*/ 92260 h 223"/>
                  <a:gd name="T36" fmla="*/ 39579 w 292"/>
                  <a:gd name="T37" fmla="*/ 74321 h 223"/>
                  <a:gd name="T38" fmla="*/ 29575 w 292"/>
                  <a:gd name="T39" fmla="*/ 57919 h 223"/>
                  <a:gd name="T40" fmla="*/ 23921 w 292"/>
                  <a:gd name="T41" fmla="*/ 50743 h 223"/>
                  <a:gd name="T42" fmla="*/ 18267 w 292"/>
                  <a:gd name="T43" fmla="*/ 44592 h 223"/>
                  <a:gd name="T44" fmla="*/ 11743 w 292"/>
                  <a:gd name="T45" fmla="*/ 40492 h 223"/>
                  <a:gd name="T46" fmla="*/ 5654 w 292"/>
                  <a:gd name="T47" fmla="*/ 38442 h 223"/>
                  <a:gd name="T48" fmla="*/ 1740 w 292"/>
                  <a:gd name="T49" fmla="*/ 33316 h 223"/>
                  <a:gd name="T50" fmla="*/ 435 w 292"/>
                  <a:gd name="T51" fmla="*/ 29728 h 223"/>
                  <a:gd name="T52" fmla="*/ 0 w 292"/>
                  <a:gd name="T53" fmla="*/ 25115 h 223"/>
                  <a:gd name="T54" fmla="*/ 17397 w 292"/>
                  <a:gd name="T55" fmla="*/ 28191 h 223"/>
                  <a:gd name="T56" fmla="*/ 30445 w 292"/>
                  <a:gd name="T57" fmla="*/ 28191 h 223"/>
                  <a:gd name="T58" fmla="*/ 39579 w 292"/>
                  <a:gd name="T59" fmla="*/ 25628 h 223"/>
                  <a:gd name="T60" fmla="*/ 46103 w 292"/>
                  <a:gd name="T61" fmla="*/ 21015 h 223"/>
                  <a:gd name="T62" fmla="*/ 55236 w 292"/>
                  <a:gd name="T63" fmla="*/ 10251 h 223"/>
                  <a:gd name="T64" fmla="*/ 60021 w 292"/>
                  <a:gd name="T65" fmla="*/ 4613 h 223"/>
                  <a:gd name="T66" fmla="*/ 66110 w 292"/>
                  <a:gd name="T67" fmla="*/ 0 h 223"/>
                  <a:gd name="T68" fmla="*/ 74808 w 292"/>
                  <a:gd name="T69" fmla="*/ 7176 h 223"/>
                  <a:gd name="T70" fmla="*/ 84377 w 292"/>
                  <a:gd name="T71" fmla="*/ 13326 h 223"/>
                  <a:gd name="T72" fmla="*/ 94815 w 292"/>
                  <a:gd name="T73" fmla="*/ 17427 h 223"/>
                  <a:gd name="T74" fmla="*/ 106993 w 292"/>
                  <a:gd name="T75" fmla="*/ 18965 h 223"/>
                  <a:gd name="T76" fmla="*/ 113952 w 292"/>
                  <a:gd name="T77" fmla="*/ 17427 h 223"/>
                  <a:gd name="T78" fmla="*/ 121346 w 292"/>
                  <a:gd name="T79" fmla="*/ 15889 h 223"/>
                  <a:gd name="T80" fmla="*/ 123955 w 292"/>
                  <a:gd name="T81" fmla="*/ 24090 h 223"/>
                  <a:gd name="T82" fmla="*/ 124825 w 292"/>
                  <a:gd name="T83" fmla="*/ 25115 h 223"/>
                  <a:gd name="T84" fmla="*/ 127000 w 292"/>
                  <a:gd name="T85" fmla="*/ 35366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453">
                <a:extLst>
                  <a:ext uri="{FF2B5EF4-FFF2-40B4-BE49-F238E27FC236}">
                    <a16:creationId xmlns:a16="http://schemas.microsoft.com/office/drawing/2014/main" id="{25E21B5C-6094-4836-9710-85AFC84A5C17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3748614" y="3458029"/>
                <a:ext cx="535560" cy="202773"/>
              </a:xfrm>
              <a:custGeom>
                <a:avLst/>
                <a:gdLst>
                  <a:gd name="T0" fmla="*/ 166499 w 379"/>
                  <a:gd name="T1" fmla="*/ 49742 h 147"/>
                  <a:gd name="T2" fmla="*/ 159839 w 379"/>
                  <a:gd name="T3" fmla="*/ 53446 h 147"/>
                  <a:gd name="T4" fmla="*/ 157175 w 379"/>
                  <a:gd name="T5" fmla="*/ 57150 h 147"/>
                  <a:gd name="T6" fmla="*/ 154067 w 379"/>
                  <a:gd name="T7" fmla="*/ 61913 h 147"/>
                  <a:gd name="T8" fmla="*/ 147851 w 379"/>
                  <a:gd name="T9" fmla="*/ 67205 h 147"/>
                  <a:gd name="T10" fmla="*/ 142079 w 379"/>
                  <a:gd name="T11" fmla="*/ 69321 h 147"/>
                  <a:gd name="T12" fmla="*/ 138083 w 379"/>
                  <a:gd name="T13" fmla="*/ 69850 h 147"/>
                  <a:gd name="T14" fmla="*/ 133643 w 379"/>
                  <a:gd name="T15" fmla="*/ 68792 h 147"/>
                  <a:gd name="T16" fmla="*/ 129203 w 379"/>
                  <a:gd name="T17" fmla="*/ 66675 h 147"/>
                  <a:gd name="T18" fmla="*/ 124763 w 379"/>
                  <a:gd name="T19" fmla="*/ 62971 h 147"/>
                  <a:gd name="T20" fmla="*/ 122099 w 379"/>
                  <a:gd name="T21" fmla="*/ 61384 h 147"/>
                  <a:gd name="T22" fmla="*/ 119435 w 379"/>
                  <a:gd name="T23" fmla="*/ 62442 h 147"/>
                  <a:gd name="T24" fmla="*/ 118547 w 379"/>
                  <a:gd name="T25" fmla="*/ 65088 h 147"/>
                  <a:gd name="T26" fmla="*/ 118103 w 379"/>
                  <a:gd name="T27" fmla="*/ 74084 h 147"/>
                  <a:gd name="T28" fmla="*/ 114107 w 379"/>
                  <a:gd name="T29" fmla="*/ 76730 h 147"/>
                  <a:gd name="T30" fmla="*/ 108335 w 379"/>
                  <a:gd name="T31" fmla="*/ 74084 h 147"/>
                  <a:gd name="T32" fmla="*/ 101675 w 379"/>
                  <a:gd name="T33" fmla="*/ 69321 h 147"/>
                  <a:gd name="T34" fmla="*/ 50172 w 379"/>
                  <a:gd name="T35" fmla="*/ 74613 h 147"/>
                  <a:gd name="T36" fmla="*/ 35520 w 379"/>
                  <a:gd name="T37" fmla="*/ 65617 h 147"/>
                  <a:gd name="T38" fmla="*/ 25752 w 379"/>
                  <a:gd name="T39" fmla="*/ 57680 h 147"/>
                  <a:gd name="T40" fmla="*/ 19980 w 379"/>
                  <a:gd name="T41" fmla="*/ 49742 h 147"/>
                  <a:gd name="T42" fmla="*/ 16428 w 379"/>
                  <a:gd name="T43" fmla="*/ 43392 h 147"/>
                  <a:gd name="T44" fmla="*/ 11544 w 379"/>
                  <a:gd name="T45" fmla="*/ 31221 h 147"/>
                  <a:gd name="T46" fmla="*/ 7104 w 379"/>
                  <a:gd name="T47" fmla="*/ 25400 h 147"/>
                  <a:gd name="T48" fmla="*/ 0 w 379"/>
                  <a:gd name="T49" fmla="*/ 19050 h 147"/>
                  <a:gd name="T50" fmla="*/ 12876 w 379"/>
                  <a:gd name="T51" fmla="*/ 21167 h 147"/>
                  <a:gd name="T52" fmla="*/ 23088 w 379"/>
                  <a:gd name="T53" fmla="*/ 20108 h 147"/>
                  <a:gd name="T54" fmla="*/ 31968 w 379"/>
                  <a:gd name="T55" fmla="*/ 17463 h 147"/>
                  <a:gd name="T56" fmla="*/ 38628 w 379"/>
                  <a:gd name="T57" fmla="*/ 13229 h 147"/>
                  <a:gd name="T58" fmla="*/ 52836 w 379"/>
                  <a:gd name="T59" fmla="*/ 4233 h 147"/>
                  <a:gd name="T60" fmla="*/ 61272 w 379"/>
                  <a:gd name="T61" fmla="*/ 1058 h 147"/>
                  <a:gd name="T62" fmla="*/ 70596 w 379"/>
                  <a:gd name="T63" fmla="*/ 0 h 147"/>
                  <a:gd name="T64" fmla="*/ 88799 w 379"/>
                  <a:gd name="T65" fmla="*/ 12171 h 147"/>
                  <a:gd name="T66" fmla="*/ 108335 w 379"/>
                  <a:gd name="T67" fmla="*/ 23813 h 147"/>
                  <a:gd name="T68" fmla="*/ 129647 w 379"/>
                  <a:gd name="T69" fmla="*/ 35454 h 147"/>
                  <a:gd name="T70" fmla="*/ 147851 w 379"/>
                  <a:gd name="T71" fmla="*/ 42334 h 147"/>
                  <a:gd name="T72" fmla="*/ 157175 w 379"/>
                  <a:gd name="T73" fmla="*/ 45509 h 147"/>
                  <a:gd name="T74" fmla="*/ 168275 w 379"/>
                  <a:gd name="T75" fmla="*/ 48684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Freeform 454">
                <a:extLst>
                  <a:ext uri="{FF2B5EF4-FFF2-40B4-BE49-F238E27FC236}">
                    <a16:creationId xmlns:a16="http://schemas.microsoft.com/office/drawing/2014/main" id="{2A9D55C2-8830-45E7-9073-2D70C9394419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632408" y="3081454"/>
                <a:ext cx="95996" cy="157253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8103 h 67"/>
                  <a:gd name="T4" fmla="*/ 0 w 61"/>
                  <a:gd name="T5" fmla="*/ 16207 h 67"/>
                  <a:gd name="T6" fmla="*/ 494 w 61"/>
                  <a:gd name="T7" fmla="*/ 21609 h 67"/>
                  <a:gd name="T8" fmla="*/ 989 w 61"/>
                  <a:gd name="T9" fmla="*/ 27011 h 67"/>
                  <a:gd name="T10" fmla="*/ 1483 w 61"/>
                  <a:gd name="T11" fmla="*/ 32413 h 67"/>
                  <a:gd name="T12" fmla="*/ 2967 w 61"/>
                  <a:gd name="T13" fmla="*/ 37816 h 67"/>
                  <a:gd name="T14" fmla="*/ 5934 w 61"/>
                  <a:gd name="T15" fmla="*/ 49521 h 67"/>
                  <a:gd name="T16" fmla="*/ 10384 w 61"/>
                  <a:gd name="T17" fmla="*/ 60325 h 67"/>
                  <a:gd name="T18" fmla="*/ 13845 w 61"/>
                  <a:gd name="T19" fmla="*/ 58524 h 67"/>
                  <a:gd name="T20" fmla="*/ 17306 w 61"/>
                  <a:gd name="T21" fmla="*/ 54923 h 67"/>
                  <a:gd name="T22" fmla="*/ 20767 w 61"/>
                  <a:gd name="T23" fmla="*/ 52222 h 67"/>
                  <a:gd name="T24" fmla="*/ 23734 w 61"/>
                  <a:gd name="T25" fmla="*/ 47720 h 67"/>
                  <a:gd name="T26" fmla="*/ 26206 w 61"/>
                  <a:gd name="T27" fmla="*/ 42318 h 67"/>
                  <a:gd name="T28" fmla="*/ 28184 w 61"/>
                  <a:gd name="T29" fmla="*/ 36015 h 67"/>
                  <a:gd name="T30" fmla="*/ 29173 w 61"/>
                  <a:gd name="T31" fmla="*/ 28812 h 67"/>
                  <a:gd name="T32" fmla="*/ 30162 w 61"/>
                  <a:gd name="T33" fmla="*/ 21609 h 67"/>
                  <a:gd name="T34" fmla="*/ 26206 w 61"/>
                  <a:gd name="T35" fmla="*/ 12605 h 67"/>
                  <a:gd name="T36" fmla="*/ 20273 w 61"/>
                  <a:gd name="T37" fmla="*/ 0 h 67"/>
                  <a:gd name="T38" fmla="*/ 13845 w 61"/>
                  <a:gd name="T39" fmla="*/ 2701 h 67"/>
                  <a:gd name="T40" fmla="*/ 8900 w 61"/>
                  <a:gd name="T41" fmla="*/ 3601 h 67"/>
                  <a:gd name="T42" fmla="*/ 6428 w 61"/>
                  <a:gd name="T43" fmla="*/ 3601 h 67"/>
                  <a:gd name="T44" fmla="*/ 4945 w 61"/>
                  <a:gd name="T45" fmla="*/ 2701 h 67"/>
                  <a:gd name="T46" fmla="*/ 2967 w 61"/>
                  <a:gd name="T47" fmla="*/ 1801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455">
                <a:extLst>
                  <a:ext uri="{FF2B5EF4-FFF2-40B4-BE49-F238E27FC236}">
                    <a16:creationId xmlns:a16="http://schemas.microsoft.com/office/drawing/2014/main" id="{E3561E50-48BB-4331-B9B3-86A830752869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541463" y="3093867"/>
                <a:ext cx="80840" cy="153114"/>
              </a:xfrm>
              <a:custGeom>
                <a:avLst/>
                <a:gdLst>
                  <a:gd name="T0" fmla="*/ 0 w 60"/>
                  <a:gd name="T1" fmla="*/ 6408 h 55"/>
                  <a:gd name="T2" fmla="*/ 0 w 60"/>
                  <a:gd name="T3" fmla="*/ 25631 h 55"/>
                  <a:gd name="T4" fmla="*/ 2117 w 60"/>
                  <a:gd name="T5" fmla="*/ 34175 h 55"/>
                  <a:gd name="T6" fmla="*/ 4233 w 60"/>
                  <a:gd name="T7" fmla="*/ 42719 h 55"/>
                  <a:gd name="T8" fmla="*/ 6773 w 60"/>
                  <a:gd name="T9" fmla="*/ 48058 h 55"/>
                  <a:gd name="T10" fmla="*/ 8890 w 60"/>
                  <a:gd name="T11" fmla="*/ 52330 h 55"/>
                  <a:gd name="T12" fmla="*/ 11430 w 60"/>
                  <a:gd name="T13" fmla="*/ 55534 h 55"/>
                  <a:gd name="T14" fmla="*/ 13970 w 60"/>
                  <a:gd name="T15" fmla="*/ 57670 h 55"/>
                  <a:gd name="T16" fmla="*/ 16933 w 60"/>
                  <a:gd name="T17" fmla="*/ 58738 h 55"/>
                  <a:gd name="T18" fmla="*/ 19473 w 60"/>
                  <a:gd name="T19" fmla="*/ 58738 h 55"/>
                  <a:gd name="T20" fmla="*/ 22437 w 60"/>
                  <a:gd name="T21" fmla="*/ 55534 h 55"/>
                  <a:gd name="T22" fmla="*/ 25400 w 60"/>
                  <a:gd name="T23" fmla="*/ 52330 h 55"/>
                  <a:gd name="T24" fmla="*/ 21167 w 60"/>
                  <a:gd name="T25" fmla="*/ 36311 h 55"/>
                  <a:gd name="T26" fmla="*/ 17780 w 60"/>
                  <a:gd name="T27" fmla="*/ 23495 h 55"/>
                  <a:gd name="T28" fmla="*/ 16510 w 60"/>
                  <a:gd name="T29" fmla="*/ 18155 h 55"/>
                  <a:gd name="T30" fmla="*/ 14817 w 60"/>
                  <a:gd name="T31" fmla="*/ 12816 h 55"/>
                  <a:gd name="T32" fmla="*/ 14393 w 60"/>
                  <a:gd name="T33" fmla="*/ 6408 h 55"/>
                  <a:gd name="T34" fmla="*/ 13970 w 60"/>
                  <a:gd name="T35" fmla="*/ 0 h 55"/>
                  <a:gd name="T36" fmla="*/ 9737 w 60"/>
                  <a:gd name="T37" fmla="*/ 1068 h 55"/>
                  <a:gd name="T38" fmla="*/ 6350 w 60"/>
                  <a:gd name="T39" fmla="*/ 3204 h 55"/>
                  <a:gd name="T40" fmla="*/ 2963 w 60"/>
                  <a:gd name="T41" fmla="*/ 5340 h 55"/>
                  <a:gd name="T42" fmla="*/ 0 w 60"/>
                  <a:gd name="T43" fmla="*/ 6408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456">
                <a:extLst>
                  <a:ext uri="{FF2B5EF4-FFF2-40B4-BE49-F238E27FC236}">
                    <a16:creationId xmlns:a16="http://schemas.microsoft.com/office/drawing/2014/main" id="{7B411D83-8612-4B08-9794-A0DD2A8D7506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445465" y="2953168"/>
                <a:ext cx="166734" cy="202773"/>
              </a:xfrm>
              <a:custGeom>
                <a:avLst/>
                <a:gdLst>
                  <a:gd name="T0" fmla="*/ 32306 w 120"/>
                  <a:gd name="T1" fmla="*/ 67802 h 148"/>
                  <a:gd name="T2" fmla="*/ 30560 w 120"/>
                  <a:gd name="T3" fmla="*/ 68853 h 148"/>
                  <a:gd name="T4" fmla="*/ 29250 w 120"/>
                  <a:gd name="T5" fmla="*/ 69378 h 148"/>
                  <a:gd name="T6" fmla="*/ 27940 w 120"/>
                  <a:gd name="T7" fmla="*/ 69904 h 148"/>
                  <a:gd name="T8" fmla="*/ 26194 w 120"/>
                  <a:gd name="T9" fmla="*/ 69904 h 148"/>
                  <a:gd name="T10" fmla="*/ 24448 w 120"/>
                  <a:gd name="T11" fmla="*/ 69904 h 148"/>
                  <a:gd name="T12" fmla="*/ 23138 w 120"/>
                  <a:gd name="T13" fmla="*/ 69378 h 148"/>
                  <a:gd name="T14" fmla="*/ 21828 w 120"/>
                  <a:gd name="T15" fmla="*/ 68853 h 148"/>
                  <a:gd name="T16" fmla="*/ 20519 w 120"/>
                  <a:gd name="T17" fmla="*/ 67802 h 148"/>
                  <a:gd name="T18" fmla="*/ 17899 w 120"/>
                  <a:gd name="T19" fmla="*/ 67276 h 148"/>
                  <a:gd name="T20" fmla="*/ 14843 w 120"/>
                  <a:gd name="T21" fmla="*/ 65699 h 148"/>
                  <a:gd name="T22" fmla="*/ 11351 w 120"/>
                  <a:gd name="T23" fmla="*/ 63071 h 148"/>
                  <a:gd name="T24" fmla="*/ 8295 w 120"/>
                  <a:gd name="T25" fmla="*/ 60443 h 148"/>
                  <a:gd name="T26" fmla="*/ 4802 w 120"/>
                  <a:gd name="T27" fmla="*/ 56764 h 148"/>
                  <a:gd name="T28" fmla="*/ 2619 w 120"/>
                  <a:gd name="T29" fmla="*/ 53085 h 148"/>
                  <a:gd name="T30" fmla="*/ 1310 w 120"/>
                  <a:gd name="T31" fmla="*/ 50983 h 148"/>
                  <a:gd name="T32" fmla="*/ 873 w 120"/>
                  <a:gd name="T33" fmla="*/ 49406 h 148"/>
                  <a:gd name="T34" fmla="*/ 437 w 120"/>
                  <a:gd name="T35" fmla="*/ 47304 h 148"/>
                  <a:gd name="T36" fmla="*/ 0 w 120"/>
                  <a:gd name="T37" fmla="*/ 45727 h 148"/>
                  <a:gd name="T38" fmla="*/ 873 w 120"/>
                  <a:gd name="T39" fmla="*/ 38368 h 148"/>
                  <a:gd name="T40" fmla="*/ 3493 w 120"/>
                  <a:gd name="T41" fmla="*/ 28908 h 148"/>
                  <a:gd name="T42" fmla="*/ 6112 w 120"/>
                  <a:gd name="T43" fmla="*/ 18396 h 148"/>
                  <a:gd name="T44" fmla="*/ 8731 w 120"/>
                  <a:gd name="T45" fmla="*/ 9461 h 148"/>
                  <a:gd name="T46" fmla="*/ 13970 w 120"/>
                  <a:gd name="T47" fmla="*/ 8935 h 148"/>
                  <a:gd name="T48" fmla="*/ 18336 w 120"/>
                  <a:gd name="T49" fmla="*/ 8410 h 148"/>
                  <a:gd name="T50" fmla="*/ 22265 w 120"/>
                  <a:gd name="T51" fmla="*/ 7358 h 148"/>
                  <a:gd name="T52" fmla="*/ 25321 w 120"/>
                  <a:gd name="T53" fmla="*/ 5782 h 148"/>
                  <a:gd name="T54" fmla="*/ 30560 w 120"/>
                  <a:gd name="T55" fmla="*/ 2628 h 148"/>
                  <a:gd name="T56" fmla="*/ 34925 w 120"/>
                  <a:gd name="T57" fmla="*/ 0 h 148"/>
                  <a:gd name="T58" fmla="*/ 37108 w 120"/>
                  <a:gd name="T59" fmla="*/ 1051 h 148"/>
                  <a:gd name="T60" fmla="*/ 40601 w 120"/>
                  <a:gd name="T61" fmla="*/ 3679 h 148"/>
                  <a:gd name="T62" fmla="*/ 42784 w 120"/>
                  <a:gd name="T63" fmla="*/ 5256 h 148"/>
                  <a:gd name="T64" fmla="*/ 44530 w 120"/>
                  <a:gd name="T65" fmla="*/ 6833 h 148"/>
                  <a:gd name="T66" fmla="*/ 46276 w 120"/>
                  <a:gd name="T67" fmla="*/ 8410 h 148"/>
                  <a:gd name="T68" fmla="*/ 46713 w 120"/>
                  <a:gd name="T69" fmla="*/ 9461 h 148"/>
                  <a:gd name="T70" fmla="*/ 43657 w 120"/>
                  <a:gd name="T71" fmla="*/ 14717 h 148"/>
                  <a:gd name="T72" fmla="*/ 40601 w 120"/>
                  <a:gd name="T73" fmla="*/ 19447 h 148"/>
                  <a:gd name="T74" fmla="*/ 41474 w 120"/>
                  <a:gd name="T75" fmla="*/ 22075 h 148"/>
                  <a:gd name="T76" fmla="*/ 42784 w 120"/>
                  <a:gd name="T77" fmla="*/ 25754 h 148"/>
                  <a:gd name="T78" fmla="*/ 44530 w 120"/>
                  <a:gd name="T79" fmla="*/ 29433 h 148"/>
                  <a:gd name="T80" fmla="*/ 46713 w 120"/>
                  <a:gd name="T81" fmla="*/ 33112 h 148"/>
                  <a:gd name="T82" fmla="*/ 50205 w 120"/>
                  <a:gd name="T83" fmla="*/ 39420 h 148"/>
                  <a:gd name="T84" fmla="*/ 52388 w 120"/>
                  <a:gd name="T85" fmla="*/ 41522 h 148"/>
                  <a:gd name="T86" fmla="*/ 49332 w 120"/>
                  <a:gd name="T87" fmla="*/ 42573 h 148"/>
                  <a:gd name="T88" fmla="*/ 46713 w 120"/>
                  <a:gd name="T89" fmla="*/ 44150 h 148"/>
                  <a:gd name="T90" fmla="*/ 43657 w 120"/>
                  <a:gd name="T91" fmla="*/ 45727 h 148"/>
                  <a:gd name="T92" fmla="*/ 41910 w 120"/>
                  <a:gd name="T93" fmla="*/ 47829 h 148"/>
                  <a:gd name="T94" fmla="*/ 39291 w 120"/>
                  <a:gd name="T95" fmla="*/ 49931 h 148"/>
                  <a:gd name="T96" fmla="*/ 37981 w 120"/>
                  <a:gd name="T97" fmla="*/ 52034 h 148"/>
                  <a:gd name="T98" fmla="*/ 35798 w 120"/>
                  <a:gd name="T99" fmla="*/ 54662 h 148"/>
                  <a:gd name="T100" fmla="*/ 34925 w 120"/>
                  <a:gd name="T101" fmla="*/ 57290 h 148"/>
                  <a:gd name="T102" fmla="*/ 34052 w 120"/>
                  <a:gd name="T103" fmla="*/ 59918 h 148"/>
                  <a:gd name="T104" fmla="*/ 33616 w 120"/>
                  <a:gd name="T105" fmla="*/ 63071 h 148"/>
                  <a:gd name="T106" fmla="*/ 33179 w 120"/>
                  <a:gd name="T107" fmla="*/ 65699 h 148"/>
                  <a:gd name="T108" fmla="*/ 32743 w 120"/>
                  <a:gd name="T109" fmla="*/ 68327 h 148"/>
                  <a:gd name="T110" fmla="*/ 33179 w 120"/>
                  <a:gd name="T111" fmla="*/ 70955 h 148"/>
                  <a:gd name="T112" fmla="*/ 33616 w 120"/>
                  <a:gd name="T113" fmla="*/ 73583 h 148"/>
                  <a:gd name="T114" fmla="*/ 34052 w 120"/>
                  <a:gd name="T115" fmla="*/ 75686 h 148"/>
                  <a:gd name="T116" fmla="*/ 34925 w 120"/>
                  <a:gd name="T117" fmla="*/ 77788 h 148"/>
                  <a:gd name="T118" fmla="*/ 32306 w 120"/>
                  <a:gd name="T119" fmla="*/ 67802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458">
                <a:extLst>
                  <a:ext uri="{FF2B5EF4-FFF2-40B4-BE49-F238E27FC236}">
                    <a16:creationId xmlns:a16="http://schemas.microsoft.com/office/drawing/2014/main" id="{BC61BC46-8594-4BA1-BCD7-65E0972EC16F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531358" y="4099453"/>
                <a:ext cx="55575" cy="148976"/>
              </a:xfrm>
              <a:custGeom>
                <a:avLst/>
                <a:gdLst>
                  <a:gd name="T0" fmla="*/ 3056 w 40"/>
                  <a:gd name="T1" fmla="*/ 19050 h 93"/>
                  <a:gd name="T2" fmla="*/ 4366 w 40"/>
                  <a:gd name="T3" fmla="*/ 18435 h 93"/>
                  <a:gd name="T4" fmla="*/ 6112 w 40"/>
                  <a:gd name="T5" fmla="*/ 15977 h 93"/>
                  <a:gd name="T6" fmla="*/ 8731 w 40"/>
                  <a:gd name="T7" fmla="*/ 12290 h 93"/>
                  <a:gd name="T8" fmla="*/ 10914 w 40"/>
                  <a:gd name="T9" fmla="*/ 9218 h 93"/>
                  <a:gd name="T10" fmla="*/ 15279 w 40"/>
                  <a:gd name="T11" fmla="*/ 2458 h 93"/>
                  <a:gd name="T12" fmla="*/ 17462 w 40"/>
                  <a:gd name="T13" fmla="*/ 0 h 93"/>
                  <a:gd name="T14" fmla="*/ 16152 w 40"/>
                  <a:gd name="T15" fmla="*/ 15977 h 93"/>
                  <a:gd name="T16" fmla="*/ 15279 w 40"/>
                  <a:gd name="T17" fmla="*/ 32569 h 93"/>
                  <a:gd name="T18" fmla="*/ 14843 w 40"/>
                  <a:gd name="T19" fmla="*/ 39944 h 93"/>
                  <a:gd name="T20" fmla="*/ 14843 w 40"/>
                  <a:gd name="T21" fmla="*/ 47318 h 93"/>
                  <a:gd name="T22" fmla="*/ 15279 w 40"/>
                  <a:gd name="T23" fmla="*/ 50390 h 93"/>
                  <a:gd name="T24" fmla="*/ 15716 w 40"/>
                  <a:gd name="T25" fmla="*/ 52848 h 93"/>
                  <a:gd name="T26" fmla="*/ 16152 w 40"/>
                  <a:gd name="T27" fmla="*/ 55306 h 93"/>
                  <a:gd name="T28" fmla="*/ 17462 w 40"/>
                  <a:gd name="T29" fmla="*/ 57150 h 93"/>
                  <a:gd name="T30" fmla="*/ 11350 w 40"/>
                  <a:gd name="T31" fmla="*/ 57150 h 93"/>
                  <a:gd name="T32" fmla="*/ 5675 w 40"/>
                  <a:gd name="T33" fmla="*/ 57150 h 93"/>
                  <a:gd name="T34" fmla="*/ 4802 w 40"/>
                  <a:gd name="T35" fmla="*/ 56535 h 93"/>
                  <a:gd name="T36" fmla="*/ 3492 w 40"/>
                  <a:gd name="T37" fmla="*/ 55921 h 93"/>
                  <a:gd name="T38" fmla="*/ 2619 w 40"/>
                  <a:gd name="T39" fmla="*/ 54077 h 93"/>
                  <a:gd name="T40" fmla="*/ 1746 w 40"/>
                  <a:gd name="T41" fmla="*/ 52848 h 93"/>
                  <a:gd name="T42" fmla="*/ 437 w 40"/>
                  <a:gd name="T43" fmla="*/ 49161 h 93"/>
                  <a:gd name="T44" fmla="*/ 0 w 40"/>
                  <a:gd name="T45" fmla="*/ 44860 h 93"/>
                  <a:gd name="T46" fmla="*/ 437 w 40"/>
                  <a:gd name="T47" fmla="*/ 39329 h 93"/>
                  <a:gd name="T48" fmla="*/ 1310 w 40"/>
                  <a:gd name="T49" fmla="*/ 30726 h 93"/>
                  <a:gd name="T50" fmla="*/ 2619 w 40"/>
                  <a:gd name="T51" fmla="*/ 22737 h 93"/>
                  <a:gd name="T52" fmla="*/ 3056 w 40"/>
                  <a:gd name="T53" fmla="*/ 19050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459">
                <a:extLst>
                  <a:ext uri="{FF2B5EF4-FFF2-40B4-BE49-F238E27FC236}">
                    <a16:creationId xmlns:a16="http://schemas.microsoft.com/office/drawing/2014/main" id="{8843CD8F-D864-4AC6-8393-640429F1A551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384447" y="3449753"/>
                <a:ext cx="939759" cy="711771"/>
              </a:xfrm>
              <a:custGeom>
                <a:avLst/>
                <a:gdLst>
                  <a:gd name="T0" fmla="*/ 66259 w 664"/>
                  <a:gd name="T1" fmla="*/ 234570 h 518"/>
                  <a:gd name="T2" fmla="*/ 67148 w 664"/>
                  <a:gd name="T3" fmla="*/ 227190 h 518"/>
                  <a:gd name="T4" fmla="*/ 64925 w 664"/>
                  <a:gd name="T5" fmla="*/ 210849 h 518"/>
                  <a:gd name="T6" fmla="*/ 67148 w 664"/>
                  <a:gd name="T7" fmla="*/ 186075 h 518"/>
                  <a:gd name="T8" fmla="*/ 64925 w 664"/>
                  <a:gd name="T9" fmla="*/ 157083 h 518"/>
                  <a:gd name="T10" fmla="*/ 59589 w 664"/>
                  <a:gd name="T11" fmla="*/ 132308 h 518"/>
                  <a:gd name="T12" fmla="*/ 48471 w 664"/>
                  <a:gd name="T13" fmla="*/ 127037 h 518"/>
                  <a:gd name="T14" fmla="*/ 8894 w 664"/>
                  <a:gd name="T15" fmla="*/ 101208 h 518"/>
                  <a:gd name="T16" fmla="*/ 10673 w 664"/>
                  <a:gd name="T17" fmla="*/ 90138 h 518"/>
                  <a:gd name="T18" fmla="*/ 16009 w 664"/>
                  <a:gd name="T19" fmla="*/ 83813 h 518"/>
                  <a:gd name="T20" fmla="*/ 21345 w 664"/>
                  <a:gd name="T21" fmla="*/ 78014 h 518"/>
                  <a:gd name="T22" fmla="*/ 44469 w 664"/>
                  <a:gd name="T23" fmla="*/ 81704 h 518"/>
                  <a:gd name="T24" fmla="*/ 55586 w 664"/>
                  <a:gd name="T25" fmla="*/ 80123 h 518"/>
                  <a:gd name="T26" fmla="*/ 65370 w 664"/>
                  <a:gd name="T27" fmla="*/ 82758 h 518"/>
                  <a:gd name="T28" fmla="*/ 73374 w 664"/>
                  <a:gd name="T29" fmla="*/ 49550 h 518"/>
                  <a:gd name="T30" fmla="*/ 82268 w 664"/>
                  <a:gd name="T31" fmla="*/ 57456 h 518"/>
                  <a:gd name="T32" fmla="*/ 92051 w 664"/>
                  <a:gd name="T33" fmla="*/ 57984 h 518"/>
                  <a:gd name="T34" fmla="*/ 104947 w 664"/>
                  <a:gd name="T35" fmla="*/ 52185 h 518"/>
                  <a:gd name="T36" fmla="*/ 117398 w 664"/>
                  <a:gd name="T37" fmla="*/ 42170 h 518"/>
                  <a:gd name="T38" fmla="*/ 128516 w 664"/>
                  <a:gd name="T39" fmla="*/ 30046 h 518"/>
                  <a:gd name="T40" fmla="*/ 136965 w 664"/>
                  <a:gd name="T41" fmla="*/ 16868 h 518"/>
                  <a:gd name="T42" fmla="*/ 141412 w 664"/>
                  <a:gd name="T43" fmla="*/ 6325 h 518"/>
                  <a:gd name="T44" fmla="*/ 164536 w 664"/>
                  <a:gd name="T45" fmla="*/ 2108 h 518"/>
                  <a:gd name="T46" fmla="*/ 179655 w 664"/>
                  <a:gd name="T47" fmla="*/ 16868 h 518"/>
                  <a:gd name="T48" fmla="*/ 203224 w 664"/>
                  <a:gd name="T49" fmla="*/ 32155 h 518"/>
                  <a:gd name="T50" fmla="*/ 227237 w 664"/>
                  <a:gd name="T51" fmla="*/ 47441 h 518"/>
                  <a:gd name="T52" fmla="*/ 245470 w 664"/>
                  <a:gd name="T53" fmla="*/ 56402 h 518"/>
                  <a:gd name="T54" fmla="*/ 257032 w 664"/>
                  <a:gd name="T55" fmla="*/ 61146 h 518"/>
                  <a:gd name="T56" fmla="*/ 277043 w 664"/>
                  <a:gd name="T57" fmla="*/ 63782 h 518"/>
                  <a:gd name="T58" fmla="*/ 292607 w 664"/>
                  <a:gd name="T59" fmla="*/ 71689 h 518"/>
                  <a:gd name="T60" fmla="*/ 286826 w 664"/>
                  <a:gd name="T61" fmla="*/ 87503 h 518"/>
                  <a:gd name="T62" fmla="*/ 275709 w 664"/>
                  <a:gd name="T63" fmla="*/ 124401 h 518"/>
                  <a:gd name="T64" fmla="*/ 265925 w 664"/>
                  <a:gd name="T65" fmla="*/ 143378 h 518"/>
                  <a:gd name="T66" fmla="*/ 260144 w 664"/>
                  <a:gd name="T67" fmla="*/ 150757 h 518"/>
                  <a:gd name="T68" fmla="*/ 266370 w 664"/>
                  <a:gd name="T69" fmla="*/ 157083 h 518"/>
                  <a:gd name="T70" fmla="*/ 274819 w 664"/>
                  <a:gd name="T71" fmla="*/ 161827 h 518"/>
                  <a:gd name="T72" fmla="*/ 277043 w 664"/>
                  <a:gd name="T73" fmla="*/ 176059 h 518"/>
                  <a:gd name="T74" fmla="*/ 275709 w 664"/>
                  <a:gd name="T75" fmla="*/ 182912 h 518"/>
                  <a:gd name="T76" fmla="*/ 274819 w 664"/>
                  <a:gd name="T77" fmla="*/ 196090 h 518"/>
                  <a:gd name="T78" fmla="*/ 276598 w 664"/>
                  <a:gd name="T79" fmla="*/ 210322 h 518"/>
                  <a:gd name="T80" fmla="*/ 281045 w 664"/>
                  <a:gd name="T81" fmla="*/ 222973 h 518"/>
                  <a:gd name="T82" fmla="*/ 270372 w 664"/>
                  <a:gd name="T83" fmla="*/ 240895 h 518"/>
                  <a:gd name="T84" fmla="*/ 253029 w 664"/>
                  <a:gd name="T85" fmla="*/ 255128 h 518"/>
                  <a:gd name="T86" fmla="*/ 241023 w 664"/>
                  <a:gd name="T87" fmla="*/ 257763 h 518"/>
                  <a:gd name="T88" fmla="*/ 226348 w 664"/>
                  <a:gd name="T89" fmla="*/ 253546 h 518"/>
                  <a:gd name="T90" fmla="*/ 212118 w 664"/>
                  <a:gd name="T91" fmla="*/ 242477 h 518"/>
                  <a:gd name="T92" fmla="*/ 205892 w 664"/>
                  <a:gd name="T93" fmla="*/ 240368 h 518"/>
                  <a:gd name="T94" fmla="*/ 196998 w 664"/>
                  <a:gd name="T95" fmla="*/ 240895 h 518"/>
                  <a:gd name="T96" fmla="*/ 188104 w 664"/>
                  <a:gd name="T97" fmla="*/ 245112 h 518"/>
                  <a:gd name="T98" fmla="*/ 180545 w 664"/>
                  <a:gd name="T99" fmla="*/ 251438 h 518"/>
                  <a:gd name="T100" fmla="*/ 172540 w 664"/>
                  <a:gd name="T101" fmla="*/ 265143 h 518"/>
                  <a:gd name="T102" fmla="*/ 171206 w 664"/>
                  <a:gd name="T103" fmla="*/ 272523 h 518"/>
                  <a:gd name="T104" fmla="*/ 148082 w 664"/>
                  <a:gd name="T105" fmla="*/ 271469 h 518"/>
                  <a:gd name="T106" fmla="*/ 140967 w 664"/>
                  <a:gd name="T107" fmla="*/ 267252 h 518"/>
                  <a:gd name="T108" fmla="*/ 136520 w 664"/>
                  <a:gd name="T109" fmla="*/ 263562 h 518"/>
                  <a:gd name="T110" fmla="*/ 131629 w 664"/>
                  <a:gd name="T111" fmla="*/ 267779 h 518"/>
                  <a:gd name="T112" fmla="*/ 127626 w 664"/>
                  <a:gd name="T113" fmla="*/ 271996 h 518"/>
                  <a:gd name="T114" fmla="*/ 119177 w 664"/>
                  <a:gd name="T115" fmla="*/ 271996 h 518"/>
                  <a:gd name="T116" fmla="*/ 100945 w 664"/>
                  <a:gd name="T117" fmla="*/ 266725 h 518"/>
                  <a:gd name="T118" fmla="*/ 82268 w 664"/>
                  <a:gd name="T119" fmla="*/ 256709 h 518"/>
                  <a:gd name="T120" fmla="*/ 71151 w 664"/>
                  <a:gd name="T121" fmla="*/ 247221 h 518"/>
                  <a:gd name="T122" fmla="*/ 64925 w 664"/>
                  <a:gd name="T123" fmla="*/ 237206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461">
                <a:extLst>
                  <a:ext uri="{FF2B5EF4-FFF2-40B4-BE49-F238E27FC236}">
                    <a16:creationId xmlns:a16="http://schemas.microsoft.com/office/drawing/2014/main" id="{FAAFB089-1035-4119-87EB-6D13C2A10866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4390277" y="4219459"/>
                <a:ext cx="469878" cy="451066"/>
              </a:xfrm>
              <a:custGeom>
                <a:avLst/>
                <a:gdLst>
                  <a:gd name="T0" fmla="*/ 102588 w 331"/>
                  <a:gd name="T1" fmla="*/ 21167 h 327"/>
                  <a:gd name="T2" fmla="*/ 86084 w 331"/>
                  <a:gd name="T3" fmla="*/ 29633 h 327"/>
                  <a:gd name="T4" fmla="*/ 81178 w 331"/>
                  <a:gd name="T5" fmla="*/ 35454 h 327"/>
                  <a:gd name="T6" fmla="*/ 80732 w 331"/>
                  <a:gd name="T7" fmla="*/ 42863 h 327"/>
                  <a:gd name="T8" fmla="*/ 82070 w 331"/>
                  <a:gd name="T9" fmla="*/ 49742 h 327"/>
                  <a:gd name="T10" fmla="*/ 78948 w 331"/>
                  <a:gd name="T11" fmla="*/ 53975 h 327"/>
                  <a:gd name="T12" fmla="*/ 74934 w 331"/>
                  <a:gd name="T13" fmla="*/ 55563 h 327"/>
                  <a:gd name="T14" fmla="*/ 71365 w 331"/>
                  <a:gd name="T15" fmla="*/ 51858 h 327"/>
                  <a:gd name="T16" fmla="*/ 66459 w 331"/>
                  <a:gd name="T17" fmla="*/ 44979 h 327"/>
                  <a:gd name="T18" fmla="*/ 56200 w 331"/>
                  <a:gd name="T19" fmla="*/ 39158 h 327"/>
                  <a:gd name="T20" fmla="*/ 56646 w 331"/>
                  <a:gd name="T21" fmla="*/ 50800 h 327"/>
                  <a:gd name="T22" fmla="*/ 61999 w 331"/>
                  <a:gd name="T23" fmla="*/ 61384 h 327"/>
                  <a:gd name="T24" fmla="*/ 68689 w 331"/>
                  <a:gd name="T25" fmla="*/ 68263 h 327"/>
                  <a:gd name="T26" fmla="*/ 70919 w 331"/>
                  <a:gd name="T27" fmla="*/ 68792 h 327"/>
                  <a:gd name="T28" fmla="*/ 70919 w 331"/>
                  <a:gd name="T29" fmla="*/ 93663 h 327"/>
                  <a:gd name="T30" fmla="*/ 70919 w 331"/>
                  <a:gd name="T31" fmla="*/ 125413 h 327"/>
                  <a:gd name="T32" fmla="*/ 69581 w 331"/>
                  <a:gd name="T33" fmla="*/ 132821 h 327"/>
                  <a:gd name="T34" fmla="*/ 65567 w 331"/>
                  <a:gd name="T35" fmla="*/ 137055 h 327"/>
                  <a:gd name="T36" fmla="*/ 64675 w 331"/>
                  <a:gd name="T37" fmla="*/ 139700 h 327"/>
                  <a:gd name="T38" fmla="*/ 72257 w 331"/>
                  <a:gd name="T39" fmla="*/ 146050 h 327"/>
                  <a:gd name="T40" fmla="*/ 74488 w 331"/>
                  <a:gd name="T41" fmla="*/ 151342 h 327"/>
                  <a:gd name="T42" fmla="*/ 69135 w 331"/>
                  <a:gd name="T43" fmla="*/ 156105 h 327"/>
                  <a:gd name="T44" fmla="*/ 62445 w 331"/>
                  <a:gd name="T45" fmla="*/ 157163 h 327"/>
                  <a:gd name="T46" fmla="*/ 57984 w 331"/>
                  <a:gd name="T47" fmla="*/ 162455 h 327"/>
                  <a:gd name="T48" fmla="*/ 56200 w 331"/>
                  <a:gd name="T49" fmla="*/ 169863 h 327"/>
                  <a:gd name="T50" fmla="*/ 53970 w 331"/>
                  <a:gd name="T51" fmla="*/ 158750 h 327"/>
                  <a:gd name="T52" fmla="*/ 55308 w 331"/>
                  <a:gd name="T53" fmla="*/ 152400 h 327"/>
                  <a:gd name="T54" fmla="*/ 48618 w 331"/>
                  <a:gd name="T55" fmla="*/ 151342 h 327"/>
                  <a:gd name="T56" fmla="*/ 41481 w 331"/>
                  <a:gd name="T57" fmla="*/ 154517 h 327"/>
                  <a:gd name="T58" fmla="*/ 35237 w 331"/>
                  <a:gd name="T59" fmla="*/ 156634 h 327"/>
                  <a:gd name="T60" fmla="*/ 32560 w 331"/>
                  <a:gd name="T61" fmla="*/ 128059 h 327"/>
                  <a:gd name="T62" fmla="*/ 35237 w 331"/>
                  <a:gd name="T63" fmla="*/ 114300 h 327"/>
                  <a:gd name="T64" fmla="*/ 21410 w 331"/>
                  <a:gd name="T65" fmla="*/ 111654 h 327"/>
                  <a:gd name="T66" fmla="*/ 12489 w 331"/>
                  <a:gd name="T67" fmla="*/ 104775 h 327"/>
                  <a:gd name="T68" fmla="*/ 5798 w 331"/>
                  <a:gd name="T69" fmla="*/ 91546 h 327"/>
                  <a:gd name="T70" fmla="*/ 0 w 331"/>
                  <a:gd name="T71" fmla="*/ 68792 h 327"/>
                  <a:gd name="T72" fmla="*/ 12489 w 331"/>
                  <a:gd name="T73" fmla="*/ 58738 h 327"/>
                  <a:gd name="T74" fmla="*/ 22302 w 331"/>
                  <a:gd name="T75" fmla="*/ 42863 h 327"/>
                  <a:gd name="T76" fmla="*/ 32560 w 331"/>
                  <a:gd name="T77" fmla="*/ 29104 h 327"/>
                  <a:gd name="T78" fmla="*/ 51294 w 331"/>
                  <a:gd name="T79" fmla="*/ 21696 h 327"/>
                  <a:gd name="T80" fmla="*/ 80286 w 331"/>
                  <a:gd name="T81" fmla="*/ 7408 h 327"/>
                  <a:gd name="T82" fmla="*/ 97235 w 331"/>
                  <a:gd name="T83" fmla="*/ 3704 h 327"/>
                  <a:gd name="T84" fmla="*/ 111062 w 331"/>
                  <a:gd name="T85" fmla="*/ 7408 h 327"/>
                  <a:gd name="T86" fmla="*/ 120875 w 331"/>
                  <a:gd name="T87" fmla="*/ 14288 h 327"/>
                  <a:gd name="T88" fmla="*/ 130242 w 331"/>
                  <a:gd name="T89" fmla="*/ 15875 h 327"/>
                  <a:gd name="T90" fmla="*/ 136932 w 331"/>
                  <a:gd name="T91" fmla="*/ 10583 h 327"/>
                  <a:gd name="T92" fmla="*/ 145853 w 331"/>
                  <a:gd name="T93" fmla="*/ 3175 h 327"/>
                  <a:gd name="T94" fmla="*/ 147191 w 331"/>
                  <a:gd name="T95" fmla="*/ 16933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462">
                <a:extLst>
                  <a:ext uri="{FF2B5EF4-FFF2-40B4-BE49-F238E27FC236}">
                    <a16:creationId xmlns:a16="http://schemas.microsoft.com/office/drawing/2014/main" id="{564DA1A4-12A8-48F0-B5E5-BD175C48AE36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4658056" y="4720183"/>
                <a:ext cx="222309" cy="148976"/>
              </a:xfrm>
              <a:custGeom>
                <a:avLst/>
                <a:gdLst>
                  <a:gd name="T0" fmla="*/ 0 w 153"/>
                  <a:gd name="T1" fmla="*/ 0 h 49"/>
                  <a:gd name="T2" fmla="*/ 20088 w 153"/>
                  <a:gd name="T3" fmla="*/ 2333 h 49"/>
                  <a:gd name="T4" fmla="*/ 37892 w 153"/>
                  <a:gd name="T5" fmla="*/ 6998 h 49"/>
                  <a:gd name="T6" fmla="*/ 47023 w 153"/>
                  <a:gd name="T7" fmla="*/ 9331 h 49"/>
                  <a:gd name="T8" fmla="*/ 55241 w 153"/>
                  <a:gd name="T9" fmla="*/ 8164 h 49"/>
                  <a:gd name="T10" fmla="*/ 59350 w 153"/>
                  <a:gd name="T11" fmla="*/ 6998 h 49"/>
                  <a:gd name="T12" fmla="*/ 62545 w 153"/>
                  <a:gd name="T13" fmla="*/ 5832 h 49"/>
                  <a:gd name="T14" fmla="*/ 66198 w 153"/>
                  <a:gd name="T15" fmla="*/ 3499 h 49"/>
                  <a:gd name="T16" fmla="*/ 69850 w 153"/>
                  <a:gd name="T17" fmla="*/ 0 h 49"/>
                  <a:gd name="T18" fmla="*/ 69850 w 153"/>
                  <a:gd name="T19" fmla="*/ 10497 h 49"/>
                  <a:gd name="T20" fmla="*/ 69850 w 153"/>
                  <a:gd name="T21" fmla="*/ 29158 h 49"/>
                  <a:gd name="T22" fmla="*/ 65285 w 153"/>
                  <a:gd name="T23" fmla="*/ 36156 h 49"/>
                  <a:gd name="T24" fmla="*/ 60719 w 153"/>
                  <a:gd name="T25" fmla="*/ 41988 h 49"/>
                  <a:gd name="T26" fmla="*/ 56610 w 153"/>
                  <a:gd name="T27" fmla="*/ 46653 h 49"/>
                  <a:gd name="T28" fmla="*/ 52045 w 153"/>
                  <a:gd name="T29" fmla="*/ 51318 h 49"/>
                  <a:gd name="T30" fmla="*/ 48393 w 153"/>
                  <a:gd name="T31" fmla="*/ 53651 h 49"/>
                  <a:gd name="T32" fmla="*/ 45197 w 153"/>
                  <a:gd name="T33" fmla="*/ 55984 h 49"/>
                  <a:gd name="T34" fmla="*/ 42001 w 153"/>
                  <a:gd name="T35" fmla="*/ 57150 h 49"/>
                  <a:gd name="T36" fmla="*/ 39719 w 153"/>
                  <a:gd name="T37" fmla="*/ 57150 h 49"/>
                  <a:gd name="T38" fmla="*/ 32871 w 153"/>
                  <a:gd name="T39" fmla="*/ 55984 h 49"/>
                  <a:gd name="T40" fmla="*/ 27392 w 153"/>
                  <a:gd name="T41" fmla="*/ 53651 h 49"/>
                  <a:gd name="T42" fmla="*/ 22827 w 153"/>
                  <a:gd name="T43" fmla="*/ 50152 h 49"/>
                  <a:gd name="T44" fmla="*/ 18718 w 153"/>
                  <a:gd name="T45" fmla="*/ 44320 h 49"/>
                  <a:gd name="T46" fmla="*/ 10044 w 153"/>
                  <a:gd name="T47" fmla="*/ 33823 h 49"/>
                  <a:gd name="T48" fmla="*/ 0 w 153"/>
                  <a:gd name="T49" fmla="*/ 22160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469">
                <a:extLst>
                  <a:ext uri="{FF2B5EF4-FFF2-40B4-BE49-F238E27FC236}">
                    <a16:creationId xmlns:a16="http://schemas.microsoft.com/office/drawing/2014/main" id="{DC01046D-2CCD-477E-B008-239F077C9D86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4284174" y="2920063"/>
                <a:ext cx="515351" cy="173804"/>
              </a:xfrm>
              <a:custGeom>
                <a:avLst/>
                <a:gdLst>
                  <a:gd name="T0" fmla="*/ 109409 w 370"/>
                  <a:gd name="T1" fmla="*/ 60473 h 129"/>
                  <a:gd name="T2" fmla="*/ 112910 w 370"/>
                  <a:gd name="T3" fmla="*/ 61506 h 129"/>
                  <a:gd name="T4" fmla="*/ 121225 w 370"/>
                  <a:gd name="T5" fmla="*/ 63574 h 129"/>
                  <a:gd name="T6" fmla="*/ 129102 w 370"/>
                  <a:gd name="T7" fmla="*/ 65641 h 129"/>
                  <a:gd name="T8" fmla="*/ 132603 w 370"/>
                  <a:gd name="T9" fmla="*/ 66675 h 129"/>
                  <a:gd name="T10" fmla="*/ 161925 w 370"/>
                  <a:gd name="T11" fmla="*/ 50135 h 129"/>
                  <a:gd name="T12" fmla="*/ 156673 w 370"/>
                  <a:gd name="T13" fmla="*/ 38765 h 129"/>
                  <a:gd name="T14" fmla="*/ 150984 w 370"/>
                  <a:gd name="T15" fmla="*/ 24809 h 129"/>
                  <a:gd name="T16" fmla="*/ 146608 w 370"/>
                  <a:gd name="T17" fmla="*/ 13955 h 129"/>
                  <a:gd name="T18" fmla="*/ 144420 w 370"/>
                  <a:gd name="T19" fmla="*/ 9303 h 129"/>
                  <a:gd name="T20" fmla="*/ 131291 w 370"/>
                  <a:gd name="T21" fmla="*/ 7753 h 129"/>
                  <a:gd name="T22" fmla="*/ 112472 w 370"/>
                  <a:gd name="T23" fmla="*/ 4652 h 129"/>
                  <a:gd name="T24" fmla="*/ 93654 w 370"/>
                  <a:gd name="T25" fmla="*/ 1034 h 129"/>
                  <a:gd name="T26" fmla="*/ 80087 w 370"/>
                  <a:gd name="T27" fmla="*/ 0 h 129"/>
                  <a:gd name="T28" fmla="*/ 78337 w 370"/>
                  <a:gd name="T29" fmla="*/ 0 h 129"/>
                  <a:gd name="T30" fmla="*/ 77024 w 370"/>
                  <a:gd name="T31" fmla="*/ 517 h 129"/>
                  <a:gd name="T32" fmla="*/ 75273 w 370"/>
                  <a:gd name="T33" fmla="*/ 1034 h 129"/>
                  <a:gd name="T34" fmla="*/ 74398 w 370"/>
                  <a:gd name="T35" fmla="*/ 1551 h 129"/>
                  <a:gd name="T36" fmla="*/ 70897 w 370"/>
                  <a:gd name="T37" fmla="*/ 3618 h 129"/>
                  <a:gd name="T38" fmla="*/ 65645 w 370"/>
                  <a:gd name="T39" fmla="*/ 6202 h 129"/>
                  <a:gd name="T40" fmla="*/ 64332 w 370"/>
                  <a:gd name="T41" fmla="*/ 10854 h 129"/>
                  <a:gd name="T42" fmla="*/ 61269 w 370"/>
                  <a:gd name="T43" fmla="*/ 18090 h 129"/>
                  <a:gd name="T44" fmla="*/ 58643 w 370"/>
                  <a:gd name="T45" fmla="*/ 24809 h 129"/>
                  <a:gd name="T46" fmla="*/ 57330 w 370"/>
                  <a:gd name="T47" fmla="*/ 28427 h 129"/>
                  <a:gd name="T48" fmla="*/ 53391 w 370"/>
                  <a:gd name="T49" fmla="*/ 27910 h 129"/>
                  <a:gd name="T50" fmla="*/ 48578 w 370"/>
                  <a:gd name="T51" fmla="*/ 25326 h 129"/>
                  <a:gd name="T52" fmla="*/ 42888 w 370"/>
                  <a:gd name="T53" fmla="*/ 22742 h 129"/>
                  <a:gd name="T54" fmla="*/ 36761 w 370"/>
                  <a:gd name="T55" fmla="*/ 19641 h 129"/>
                  <a:gd name="T56" fmla="*/ 26258 w 370"/>
                  <a:gd name="T57" fmla="*/ 13438 h 129"/>
                  <a:gd name="T58" fmla="*/ 19256 w 370"/>
                  <a:gd name="T59" fmla="*/ 9303 h 129"/>
                  <a:gd name="T60" fmla="*/ 14004 w 370"/>
                  <a:gd name="T61" fmla="*/ 12922 h 129"/>
                  <a:gd name="T62" fmla="*/ 9190 w 370"/>
                  <a:gd name="T63" fmla="*/ 17056 h 129"/>
                  <a:gd name="T64" fmla="*/ 7002 w 370"/>
                  <a:gd name="T65" fmla="*/ 19124 h 129"/>
                  <a:gd name="T66" fmla="*/ 5252 w 370"/>
                  <a:gd name="T67" fmla="*/ 21191 h 129"/>
                  <a:gd name="T68" fmla="*/ 3939 w 370"/>
                  <a:gd name="T69" fmla="*/ 23776 h 129"/>
                  <a:gd name="T70" fmla="*/ 2188 w 370"/>
                  <a:gd name="T71" fmla="*/ 26877 h 129"/>
                  <a:gd name="T72" fmla="*/ 1313 w 370"/>
                  <a:gd name="T73" fmla="*/ 29461 h 129"/>
                  <a:gd name="T74" fmla="*/ 438 w 370"/>
                  <a:gd name="T75" fmla="*/ 32562 h 129"/>
                  <a:gd name="T76" fmla="*/ 0 w 370"/>
                  <a:gd name="T77" fmla="*/ 35663 h 129"/>
                  <a:gd name="T78" fmla="*/ 0 w 370"/>
                  <a:gd name="T79" fmla="*/ 38765 h 129"/>
                  <a:gd name="T80" fmla="*/ 438 w 370"/>
                  <a:gd name="T81" fmla="*/ 42383 h 129"/>
                  <a:gd name="T82" fmla="*/ 1313 w 370"/>
                  <a:gd name="T83" fmla="*/ 45484 h 129"/>
                  <a:gd name="T84" fmla="*/ 2626 w 370"/>
                  <a:gd name="T85" fmla="*/ 49619 h 129"/>
                  <a:gd name="T86" fmla="*/ 4814 w 370"/>
                  <a:gd name="T87" fmla="*/ 53237 h 129"/>
                  <a:gd name="T88" fmla="*/ 8753 w 370"/>
                  <a:gd name="T89" fmla="*/ 52203 h 129"/>
                  <a:gd name="T90" fmla="*/ 14442 w 370"/>
                  <a:gd name="T91" fmla="*/ 51169 h 129"/>
                  <a:gd name="T92" fmla="*/ 21882 w 370"/>
                  <a:gd name="T93" fmla="*/ 50135 h 129"/>
                  <a:gd name="T94" fmla="*/ 30197 w 370"/>
                  <a:gd name="T95" fmla="*/ 49102 h 129"/>
                  <a:gd name="T96" fmla="*/ 44639 w 370"/>
                  <a:gd name="T97" fmla="*/ 47551 h 129"/>
                  <a:gd name="T98" fmla="*/ 51203 w 370"/>
                  <a:gd name="T99" fmla="*/ 47034 h 129"/>
                  <a:gd name="T100" fmla="*/ 59956 w 370"/>
                  <a:gd name="T101" fmla="*/ 47551 h 129"/>
                  <a:gd name="T102" fmla="*/ 66521 w 370"/>
                  <a:gd name="T103" fmla="*/ 48585 h 129"/>
                  <a:gd name="T104" fmla="*/ 72647 w 370"/>
                  <a:gd name="T105" fmla="*/ 50135 h 129"/>
                  <a:gd name="T106" fmla="*/ 77461 w 370"/>
                  <a:gd name="T107" fmla="*/ 51686 h 129"/>
                  <a:gd name="T108" fmla="*/ 82713 w 370"/>
                  <a:gd name="T109" fmla="*/ 53753 h 129"/>
                  <a:gd name="T110" fmla="*/ 87965 w 370"/>
                  <a:gd name="T111" fmla="*/ 55821 h 129"/>
                  <a:gd name="T112" fmla="*/ 94967 w 370"/>
                  <a:gd name="T113" fmla="*/ 56855 h 129"/>
                  <a:gd name="T114" fmla="*/ 103720 w 370"/>
                  <a:gd name="T115" fmla="*/ 57372 h 129"/>
                  <a:gd name="T116" fmla="*/ 103720 w 370"/>
                  <a:gd name="T117" fmla="*/ 60473 h 129"/>
                  <a:gd name="T118" fmla="*/ 109409 w 370"/>
                  <a:gd name="T119" fmla="*/ 60473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473">
                <a:extLst>
                  <a:ext uri="{FF2B5EF4-FFF2-40B4-BE49-F238E27FC236}">
                    <a16:creationId xmlns:a16="http://schemas.microsoft.com/office/drawing/2014/main" id="{7E3A46DF-0155-468A-8156-427723CB942F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3344415" y="3528380"/>
                <a:ext cx="60631" cy="157253"/>
              </a:xfrm>
              <a:custGeom>
                <a:avLst/>
                <a:gdLst>
                  <a:gd name="T0" fmla="*/ 0 w 46"/>
                  <a:gd name="T1" fmla="*/ 30163 h 50"/>
                  <a:gd name="T2" fmla="*/ 828 w 46"/>
                  <a:gd name="T3" fmla="*/ 21717 h 50"/>
                  <a:gd name="T4" fmla="*/ 414 w 46"/>
                  <a:gd name="T5" fmla="*/ 16891 h 50"/>
                  <a:gd name="T6" fmla="*/ 828 w 46"/>
                  <a:gd name="T7" fmla="*/ 15685 h 50"/>
                  <a:gd name="T8" fmla="*/ 1242 w 46"/>
                  <a:gd name="T9" fmla="*/ 15685 h 50"/>
                  <a:gd name="T10" fmla="*/ 2485 w 46"/>
                  <a:gd name="T11" fmla="*/ 14478 h 50"/>
                  <a:gd name="T12" fmla="*/ 5384 w 46"/>
                  <a:gd name="T13" fmla="*/ 14478 h 50"/>
                  <a:gd name="T14" fmla="*/ 19050 w 46"/>
                  <a:gd name="T15" fmla="*/ 0 h 50"/>
                  <a:gd name="T16" fmla="*/ 19050 w 46"/>
                  <a:gd name="T17" fmla="*/ 60325 h 50"/>
                  <a:gd name="T18" fmla="*/ 16565 w 46"/>
                  <a:gd name="T19" fmla="*/ 59119 h 50"/>
                  <a:gd name="T20" fmla="*/ 13666 w 46"/>
                  <a:gd name="T21" fmla="*/ 54293 h 50"/>
                  <a:gd name="T22" fmla="*/ 10353 w 46"/>
                  <a:gd name="T23" fmla="*/ 49467 h 50"/>
                  <a:gd name="T24" fmla="*/ 7040 w 46"/>
                  <a:gd name="T25" fmla="*/ 44641 h 50"/>
                  <a:gd name="T26" fmla="*/ 2071 w 46"/>
                  <a:gd name="T27" fmla="*/ 33782 h 50"/>
                  <a:gd name="T28" fmla="*/ 0 w 46"/>
                  <a:gd name="T29" fmla="*/ 30163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519">
                <a:extLst>
                  <a:ext uri="{FF2B5EF4-FFF2-40B4-BE49-F238E27FC236}">
                    <a16:creationId xmlns:a16="http://schemas.microsoft.com/office/drawing/2014/main" id="{68D909AB-8869-4B81-A044-35F9B6943591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4233650" y="3118696"/>
                <a:ext cx="151573" cy="153114"/>
              </a:xfrm>
              <a:custGeom>
                <a:avLst/>
                <a:gdLst>
                  <a:gd name="T0" fmla="*/ 15716 w 100"/>
                  <a:gd name="T1" fmla="*/ 0 h 55"/>
                  <a:gd name="T2" fmla="*/ 47625 w 100"/>
                  <a:gd name="T3" fmla="*/ 12816 h 55"/>
                  <a:gd name="T4" fmla="*/ 47625 w 100"/>
                  <a:gd name="T5" fmla="*/ 58738 h 55"/>
                  <a:gd name="T6" fmla="*/ 6191 w 100"/>
                  <a:gd name="T7" fmla="*/ 58738 h 55"/>
                  <a:gd name="T8" fmla="*/ 0 w 100"/>
                  <a:gd name="T9" fmla="*/ 45922 h 55"/>
                  <a:gd name="T10" fmla="*/ 476 w 100"/>
                  <a:gd name="T11" fmla="*/ 40583 h 55"/>
                  <a:gd name="T12" fmla="*/ 1905 w 100"/>
                  <a:gd name="T13" fmla="*/ 34175 h 55"/>
                  <a:gd name="T14" fmla="*/ 4763 w 100"/>
                  <a:gd name="T15" fmla="*/ 26699 h 55"/>
                  <a:gd name="T16" fmla="*/ 7620 w 100"/>
                  <a:gd name="T17" fmla="*/ 19223 h 55"/>
                  <a:gd name="T18" fmla="*/ 12859 w 100"/>
                  <a:gd name="T19" fmla="*/ 5340 h 55"/>
                  <a:gd name="T20" fmla="*/ 15716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528">
                <a:extLst>
                  <a:ext uri="{FF2B5EF4-FFF2-40B4-BE49-F238E27FC236}">
                    <a16:creationId xmlns:a16="http://schemas.microsoft.com/office/drawing/2014/main" id="{0AAD13C0-37F0-4103-BE73-A403AEBAF5E3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3948184" y="3801501"/>
                <a:ext cx="181890" cy="148976"/>
              </a:xfrm>
              <a:custGeom>
                <a:avLst/>
                <a:gdLst>
                  <a:gd name="T0" fmla="*/ 57150 w 146"/>
                  <a:gd name="T1" fmla="*/ 12700 h 81"/>
                  <a:gd name="T2" fmla="*/ 54018 w 146"/>
                  <a:gd name="T3" fmla="*/ 16933 h 81"/>
                  <a:gd name="T4" fmla="*/ 50887 w 146"/>
                  <a:gd name="T5" fmla="*/ 20461 h 81"/>
                  <a:gd name="T6" fmla="*/ 48147 w 146"/>
                  <a:gd name="T7" fmla="*/ 24694 h 81"/>
                  <a:gd name="T8" fmla="*/ 46190 w 146"/>
                  <a:gd name="T9" fmla="*/ 28928 h 81"/>
                  <a:gd name="T10" fmla="*/ 42275 w 146"/>
                  <a:gd name="T11" fmla="*/ 37394 h 81"/>
                  <a:gd name="T12" fmla="*/ 38361 w 146"/>
                  <a:gd name="T13" fmla="*/ 45156 h 81"/>
                  <a:gd name="T14" fmla="*/ 36404 w 146"/>
                  <a:gd name="T15" fmla="*/ 48683 h 81"/>
                  <a:gd name="T16" fmla="*/ 33272 w 146"/>
                  <a:gd name="T17" fmla="*/ 51506 h 81"/>
                  <a:gd name="T18" fmla="*/ 29749 w 146"/>
                  <a:gd name="T19" fmla="*/ 54328 h 81"/>
                  <a:gd name="T20" fmla="*/ 25835 w 146"/>
                  <a:gd name="T21" fmla="*/ 56444 h 81"/>
                  <a:gd name="T22" fmla="*/ 20746 w 146"/>
                  <a:gd name="T23" fmla="*/ 57150 h 81"/>
                  <a:gd name="T24" fmla="*/ 15266 w 146"/>
                  <a:gd name="T25" fmla="*/ 56444 h 81"/>
                  <a:gd name="T26" fmla="*/ 8220 w 146"/>
                  <a:gd name="T27" fmla="*/ 54328 h 81"/>
                  <a:gd name="T28" fmla="*/ 0 w 146"/>
                  <a:gd name="T29" fmla="*/ 52211 h 81"/>
                  <a:gd name="T30" fmla="*/ 0 w 146"/>
                  <a:gd name="T31" fmla="*/ 43744 h 81"/>
                  <a:gd name="T32" fmla="*/ 0 w 146"/>
                  <a:gd name="T33" fmla="*/ 34572 h 81"/>
                  <a:gd name="T34" fmla="*/ 0 w 146"/>
                  <a:gd name="T35" fmla="*/ 23989 h 81"/>
                  <a:gd name="T36" fmla="*/ 0 w 146"/>
                  <a:gd name="T37" fmla="*/ 12700 h 81"/>
                  <a:gd name="T38" fmla="*/ 5480 w 146"/>
                  <a:gd name="T39" fmla="*/ 12700 h 81"/>
                  <a:gd name="T40" fmla="*/ 8612 w 146"/>
                  <a:gd name="T41" fmla="*/ 12700 h 81"/>
                  <a:gd name="T42" fmla="*/ 12135 w 146"/>
                  <a:gd name="T43" fmla="*/ 12700 h 81"/>
                  <a:gd name="T44" fmla="*/ 15658 w 146"/>
                  <a:gd name="T45" fmla="*/ 12700 h 81"/>
                  <a:gd name="T46" fmla="*/ 20355 w 146"/>
                  <a:gd name="T47" fmla="*/ 12700 h 81"/>
                  <a:gd name="T48" fmla="*/ 24661 w 146"/>
                  <a:gd name="T49" fmla="*/ 11289 h 81"/>
                  <a:gd name="T50" fmla="*/ 28575 w 146"/>
                  <a:gd name="T51" fmla="*/ 9878 h 81"/>
                  <a:gd name="T52" fmla="*/ 32489 w 146"/>
                  <a:gd name="T53" fmla="*/ 7761 h 81"/>
                  <a:gd name="T54" fmla="*/ 39535 w 146"/>
                  <a:gd name="T55" fmla="*/ 3528 h 81"/>
                  <a:gd name="T56" fmla="*/ 46973 w 146"/>
                  <a:gd name="T57" fmla="*/ 0 h 81"/>
                  <a:gd name="T58" fmla="*/ 50496 w 146"/>
                  <a:gd name="T59" fmla="*/ 2822 h 81"/>
                  <a:gd name="T60" fmla="*/ 52844 w 146"/>
                  <a:gd name="T61" fmla="*/ 6350 h 81"/>
                  <a:gd name="T62" fmla="*/ 55193 w 146"/>
                  <a:gd name="T63" fmla="*/ 9878 h 81"/>
                  <a:gd name="T64" fmla="*/ 57150 w 146"/>
                  <a:gd name="T65" fmla="*/ 1270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529">
                <a:extLst>
                  <a:ext uri="{FF2B5EF4-FFF2-40B4-BE49-F238E27FC236}">
                    <a16:creationId xmlns:a16="http://schemas.microsoft.com/office/drawing/2014/main" id="{CEDF0CC1-5F3B-4EA0-85F5-2AB5AB139A4D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096846" y="4356021"/>
                <a:ext cx="50524" cy="148976"/>
              </a:xfrm>
              <a:custGeom>
                <a:avLst/>
                <a:gdLst>
                  <a:gd name="T0" fmla="*/ 15875 w 34"/>
                  <a:gd name="T1" fmla="*/ 57150 h 49"/>
                  <a:gd name="T2" fmla="*/ 15875 w 34"/>
                  <a:gd name="T3" fmla="*/ 39655 h 49"/>
                  <a:gd name="T4" fmla="*/ 15875 w 34"/>
                  <a:gd name="T5" fmla="*/ 29158 h 49"/>
                  <a:gd name="T6" fmla="*/ 15408 w 34"/>
                  <a:gd name="T7" fmla="*/ 24493 h 49"/>
                  <a:gd name="T8" fmla="*/ 15408 w 34"/>
                  <a:gd name="T9" fmla="*/ 19828 h 49"/>
                  <a:gd name="T10" fmla="*/ 14474 w 34"/>
                  <a:gd name="T11" fmla="*/ 17495 h 49"/>
                  <a:gd name="T12" fmla="*/ 14007 w 34"/>
                  <a:gd name="T13" fmla="*/ 13996 h 49"/>
                  <a:gd name="T14" fmla="*/ 11673 w 34"/>
                  <a:gd name="T15" fmla="*/ 9331 h 49"/>
                  <a:gd name="T16" fmla="*/ 9805 w 34"/>
                  <a:gd name="T17" fmla="*/ 0 h 49"/>
                  <a:gd name="T18" fmla="*/ 3735 w 34"/>
                  <a:gd name="T19" fmla="*/ 0 h 49"/>
                  <a:gd name="T20" fmla="*/ 0 w 34"/>
                  <a:gd name="T21" fmla="*/ 0 h 49"/>
                  <a:gd name="T22" fmla="*/ 1401 w 34"/>
                  <a:gd name="T23" fmla="*/ 12830 h 49"/>
                  <a:gd name="T24" fmla="*/ 3268 w 34"/>
                  <a:gd name="T25" fmla="*/ 23327 h 49"/>
                  <a:gd name="T26" fmla="*/ 4669 w 34"/>
                  <a:gd name="T27" fmla="*/ 31491 h 49"/>
                  <a:gd name="T28" fmla="*/ 6537 w 34"/>
                  <a:gd name="T29" fmla="*/ 39655 h 49"/>
                  <a:gd name="T30" fmla="*/ 8871 w 34"/>
                  <a:gd name="T31" fmla="*/ 45487 h 49"/>
                  <a:gd name="T32" fmla="*/ 11206 w 34"/>
                  <a:gd name="T33" fmla="*/ 50152 h 49"/>
                  <a:gd name="T34" fmla="*/ 13540 w 34"/>
                  <a:gd name="T35" fmla="*/ 53651 h 49"/>
                  <a:gd name="T36" fmla="*/ 15875 w 34"/>
                  <a:gd name="T37" fmla="*/ 57150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536">
                <a:extLst>
                  <a:ext uri="{FF2B5EF4-FFF2-40B4-BE49-F238E27FC236}">
                    <a16:creationId xmlns:a16="http://schemas.microsoft.com/office/drawing/2014/main" id="{8FF5F2CE-E4EF-4E38-8E33-73FE2CE9A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4055" y="4350558"/>
                <a:ext cx="16926" cy="12316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537">
                <a:extLst>
                  <a:ext uri="{FF2B5EF4-FFF2-40B4-BE49-F238E27FC236}">
                    <a16:creationId xmlns:a16="http://schemas.microsoft.com/office/drawing/2014/main" id="{23117DE7-8D80-4900-9FDB-B8411C86B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2151" y="4621545"/>
                <a:ext cx="42313" cy="12316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538">
                <a:extLst>
                  <a:ext uri="{FF2B5EF4-FFF2-40B4-BE49-F238E27FC236}">
                    <a16:creationId xmlns:a16="http://schemas.microsoft.com/office/drawing/2014/main" id="{AC83C419-8B28-4910-87F9-C5F814023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543" y="4666708"/>
                <a:ext cx="16926" cy="32847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539">
                <a:extLst>
                  <a:ext uri="{FF2B5EF4-FFF2-40B4-BE49-F238E27FC236}">
                    <a16:creationId xmlns:a16="http://schemas.microsoft.com/office/drawing/2014/main" id="{09017382-44AC-4BF0-850E-22B251AF1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603" y="4198639"/>
                <a:ext cx="143862" cy="94434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540">
                <a:extLst>
                  <a:ext uri="{FF2B5EF4-FFF2-40B4-BE49-F238E27FC236}">
                    <a16:creationId xmlns:a16="http://schemas.microsoft.com/office/drawing/2014/main" id="{2E00FBE3-4AAF-4354-A79C-A97C62576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4008" y="4221088"/>
                <a:ext cx="1008112" cy="504056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/>
              </a:p>
            </p:txBody>
          </p:sp>
          <p:sp>
            <p:nvSpPr>
              <p:cNvPr id="71" name="Freeform 353">
                <a:extLst>
                  <a:ext uri="{FF2B5EF4-FFF2-40B4-BE49-F238E27FC236}">
                    <a16:creationId xmlns:a16="http://schemas.microsoft.com/office/drawing/2014/main" id="{2F7BD990-1A26-4787-A55A-5CF4551BEB8C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4253860" y="3855297"/>
                <a:ext cx="343568" cy="388992"/>
              </a:xfrm>
              <a:custGeom>
                <a:avLst/>
                <a:gdLst>
                  <a:gd name="T0" fmla="*/ 13165 w 246"/>
                  <a:gd name="T1" fmla="*/ 14187 h 284"/>
                  <a:gd name="T2" fmla="*/ 12287 w 246"/>
                  <a:gd name="T3" fmla="*/ 12611 h 284"/>
                  <a:gd name="T4" fmla="*/ 10532 w 246"/>
                  <a:gd name="T5" fmla="*/ 8932 h 284"/>
                  <a:gd name="T6" fmla="*/ 15359 w 246"/>
                  <a:gd name="T7" fmla="*/ 2627 h 284"/>
                  <a:gd name="T8" fmla="*/ 29401 w 246"/>
                  <a:gd name="T9" fmla="*/ 525 h 284"/>
                  <a:gd name="T10" fmla="*/ 55291 w 246"/>
                  <a:gd name="T11" fmla="*/ 6305 h 284"/>
                  <a:gd name="T12" fmla="*/ 57486 w 246"/>
                  <a:gd name="T13" fmla="*/ 15763 h 284"/>
                  <a:gd name="T14" fmla="*/ 60996 w 246"/>
                  <a:gd name="T15" fmla="*/ 24170 h 284"/>
                  <a:gd name="T16" fmla="*/ 66262 w 246"/>
                  <a:gd name="T17" fmla="*/ 29950 h 284"/>
                  <a:gd name="T18" fmla="*/ 72405 w 246"/>
                  <a:gd name="T19" fmla="*/ 35204 h 284"/>
                  <a:gd name="T20" fmla="*/ 83815 w 246"/>
                  <a:gd name="T21" fmla="*/ 45713 h 284"/>
                  <a:gd name="T22" fmla="*/ 89081 w 246"/>
                  <a:gd name="T23" fmla="*/ 53069 h 284"/>
                  <a:gd name="T24" fmla="*/ 93030 w 246"/>
                  <a:gd name="T25" fmla="*/ 61476 h 284"/>
                  <a:gd name="T26" fmla="*/ 99174 w 246"/>
                  <a:gd name="T27" fmla="*/ 61476 h 284"/>
                  <a:gd name="T28" fmla="*/ 96979 w 246"/>
                  <a:gd name="T29" fmla="*/ 65155 h 284"/>
                  <a:gd name="T30" fmla="*/ 96979 w 246"/>
                  <a:gd name="T31" fmla="*/ 67782 h 284"/>
                  <a:gd name="T32" fmla="*/ 100051 w 246"/>
                  <a:gd name="T33" fmla="*/ 73562 h 284"/>
                  <a:gd name="T34" fmla="*/ 104878 w 246"/>
                  <a:gd name="T35" fmla="*/ 80918 h 284"/>
                  <a:gd name="T36" fmla="*/ 107072 w 246"/>
                  <a:gd name="T37" fmla="*/ 85121 h 284"/>
                  <a:gd name="T38" fmla="*/ 107950 w 246"/>
                  <a:gd name="T39" fmla="*/ 90901 h 284"/>
                  <a:gd name="T40" fmla="*/ 105756 w 246"/>
                  <a:gd name="T41" fmla="*/ 96681 h 284"/>
                  <a:gd name="T42" fmla="*/ 102245 w 246"/>
                  <a:gd name="T43" fmla="*/ 100885 h 284"/>
                  <a:gd name="T44" fmla="*/ 97857 w 246"/>
                  <a:gd name="T45" fmla="*/ 104037 h 284"/>
                  <a:gd name="T46" fmla="*/ 96541 w 246"/>
                  <a:gd name="T47" fmla="*/ 107190 h 284"/>
                  <a:gd name="T48" fmla="*/ 82937 w 246"/>
                  <a:gd name="T49" fmla="*/ 112970 h 284"/>
                  <a:gd name="T50" fmla="*/ 71967 w 246"/>
                  <a:gd name="T51" fmla="*/ 120851 h 284"/>
                  <a:gd name="T52" fmla="*/ 49587 w 246"/>
                  <a:gd name="T53" fmla="*/ 139242 h 284"/>
                  <a:gd name="T54" fmla="*/ 38616 w 246"/>
                  <a:gd name="T55" fmla="*/ 121377 h 284"/>
                  <a:gd name="T56" fmla="*/ 34667 w 246"/>
                  <a:gd name="T57" fmla="*/ 115597 h 284"/>
                  <a:gd name="T58" fmla="*/ 31595 w 246"/>
                  <a:gd name="T59" fmla="*/ 113495 h 284"/>
                  <a:gd name="T60" fmla="*/ 26329 w 246"/>
                  <a:gd name="T61" fmla="*/ 114021 h 284"/>
                  <a:gd name="T62" fmla="*/ 23696 w 246"/>
                  <a:gd name="T63" fmla="*/ 116122 h 284"/>
                  <a:gd name="T64" fmla="*/ 21502 w 246"/>
                  <a:gd name="T65" fmla="*/ 119800 h 284"/>
                  <a:gd name="T66" fmla="*/ 21063 w 246"/>
                  <a:gd name="T67" fmla="*/ 124004 h 284"/>
                  <a:gd name="T68" fmla="*/ 19747 w 246"/>
                  <a:gd name="T69" fmla="*/ 135038 h 284"/>
                  <a:gd name="T70" fmla="*/ 17992 w 246"/>
                  <a:gd name="T71" fmla="*/ 141869 h 284"/>
                  <a:gd name="T72" fmla="*/ 14481 w 246"/>
                  <a:gd name="T73" fmla="*/ 149225 h 284"/>
                  <a:gd name="T74" fmla="*/ 11409 w 246"/>
                  <a:gd name="T75" fmla="*/ 127682 h 284"/>
                  <a:gd name="T76" fmla="*/ 7460 w 246"/>
                  <a:gd name="T77" fmla="*/ 119275 h 284"/>
                  <a:gd name="T78" fmla="*/ 4827 w 246"/>
                  <a:gd name="T79" fmla="*/ 116122 h 284"/>
                  <a:gd name="T80" fmla="*/ 0 w 246"/>
                  <a:gd name="T81" fmla="*/ 113495 h 284"/>
                  <a:gd name="T82" fmla="*/ 439 w 246"/>
                  <a:gd name="T83" fmla="*/ 107190 h 284"/>
                  <a:gd name="T84" fmla="*/ 1755 w 246"/>
                  <a:gd name="T85" fmla="*/ 101410 h 284"/>
                  <a:gd name="T86" fmla="*/ 6582 w 246"/>
                  <a:gd name="T87" fmla="*/ 92477 h 284"/>
                  <a:gd name="T88" fmla="*/ 13603 w 246"/>
                  <a:gd name="T89" fmla="*/ 84596 h 284"/>
                  <a:gd name="T90" fmla="*/ 20186 w 246"/>
                  <a:gd name="T91" fmla="*/ 74087 h 284"/>
                  <a:gd name="T92" fmla="*/ 14481 w 246"/>
                  <a:gd name="T93" fmla="*/ 23119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472">
                <a:extLst>
                  <a:ext uri="{FF2B5EF4-FFF2-40B4-BE49-F238E27FC236}">
                    <a16:creationId xmlns:a16="http://schemas.microsoft.com/office/drawing/2014/main" id="{3598102A-BF94-4920-97B2-3E20EDBD6BF0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4279123" y="3044209"/>
                <a:ext cx="419352" cy="219326"/>
              </a:xfrm>
              <a:custGeom>
                <a:avLst/>
                <a:gdLst>
                  <a:gd name="T0" fmla="*/ 81084 w 312"/>
                  <a:gd name="T1" fmla="*/ 84138 h 155"/>
                  <a:gd name="T2" fmla="*/ 81929 w 312"/>
                  <a:gd name="T3" fmla="*/ 81967 h 155"/>
                  <a:gd name="T4" fmla="*/ 83196 w 312"/>
                  <a:gd name="T5" fmla="*/ 80338 h 155"/>
                  <a:gd name="T6" fmla="*/ 84463 w 312"/>
                  <a:gd name="T7" fmla="*/ 78710 h 155"/>
                  <a:gd name="T8" fmla="*/ 85730 w 312"/>
                  <a:gd name="T9" fmla="*/ 77081 h 155"/>
                  <a:gd name="T10" fmla="*/ 89108 w 312"/>
                  <a:gd name="T11" fmla="*/ 74367 h 155"/>
                  <a:gd name="T12" fmla="*/ 92909 w 312"/>
                  <a:gd name="T13" fmla="*/ 71653 h 155"/>
                  <a:gd name="T14" fmla="*/ 100511 w 312"/>
                  <a:gd name="T15" fmla="*/ 66768 h 155"/>
                  <a:gd name="T16" fmla="*/ 106845 w 312"/>
                  <a:gd name="T17" fmla="*/ 63511 h 155"/>
                  <a:gd name="T18" fmla="*/ 107690 w 312"/>
                  <a:gd name="T19" fmla="*/ 59168 h 155"/>
                  <a:gd name="T20" fmla="*/ 109802 w 312"/>
                  <a:gd name="T21" fmla="*/ 52654 h 155"/>
                  <a:gd name="T22" fmla="*/ 111491 w 312"/>
                  <a:gd name="T23" fmla="*/ 49397 h 155"/>
                  <a:gd name="T24" fmla="*/ 112758 w 312"/>
                  <a:gd name="T25" fmla="*/ 46683 h 155"/>
                  <a:gd name="T26" fmla="*/ 113602 w 312"/>
                  <a:gd name="T27" fmla="*/ 44512 h 155"/>
                  <a:gd name="T28" fmla="*/ 114869 w 312"/>
                  <a:gd name="T29" fmla="*/ 43969 h 155"/>
                  <a:gd name="T30" fmla="*/ 131762 w 312"/>
                  <a:gd name="T31" fmla="*/ 23884 h 155"/>
                  <a:gd name="T32" fmla="*/ 131762 w 312"/>
                  <a:gd name="T33" fmla="*/ 21170 h 155"/>
                  <a:gd name="T34" fmla="*/ 130917 w 312"/>
                  <a:gd name="T35" fmla="*/ 18999 h 155"/>
                  <a:gd name="T36" fmla="*/ 129228 w 312"/>
                  <a:gd name="T37" fmla="*/ 17370 h 155"/>
                  <a:gd name="T38" fmla="*/ 127539 w 312"/>
                  <a:gd name="T39" fmla="*/ 16285 h 155"/>
                  <a:gd name="T40" fmla="*/ 122893 w 312"/>
                  <a:gd name="T41" fmla="*/ 15199 h 155"/>
                  <a:gd name="T42" fmla="*/ 118248 w 312"/>
                  <a:gd name="T43" fmla="*/ 14656 h 155"/>
                  <a:gd name="T44" fmla="*/ 113180 w 312"/>
                  <a:gd name="T45" fmla="*/ 14656 h 155"/>
                  <a:gd name="T46" fmla="*/ 109379 w 312"/>
                  <a:gd name="T47" fmla="*/ 14656 h 155"/>
                  <a:gd name="T48" fmla="*/ 108112 w 312"/>
                  <a:gd name="T49" fmla="*/ 14113 h 155"/>
                  <a:gd name="T50" fmla="*/ 106845 w 312"/>
                  <a:gd name="T51" fmla="*/ 13571 h 155"/>
                  <a:gd name="T52" fmla="*/ 106423 w 312"/>
                  <a:gd name="T53" fmla="*/ 12485 h 155"/>
                  <a:gd name="T54" fmla="*/ 106845 w 312"/>
                  <a:gd name="T55" fmla="*/ 10857 h 155"/>
                  <a:gd name="T56" fmla="*/ 97977 w 312"/>
                  <a:gd name="T57" fmla="*/ 10314 h 155"/>
                  <a:gd name="T58" fmla="*/ 91220 w 312"/>
                  <a:gd name="T59" fmla="*/ 9228 h 155"/>
                  <a:gd name="T60" fmla="*/ 85307 w 312"/>
                  <a:gd name="T61" fmla="*/ 7057 h 155"/>
                  <a:gd name="T62" fmla="*/ 79817 w 312"/>
                  <a:gd name="T63" fmla="*/ 4885 h 155"/>
                  <a:gd name="T64" fmla="*/ 74750 w 312"/>
                  <a:gd name="T65" fmla="*/ 3257 h 155"/>
                  <a:gd name="T66" fmla="*/ 68837 w 312"/>
                  <a:gd name="T67" fmla="*/ 1628 h 155"/>
                  <a:gd name="T68" fmla="*/ 61658 w 312"/>
                  <a:gd name="T69" fmla="*/ 543 h 155"/>
                  <a:gd name="T70" fmla="*/ 53212 w 312"/>
                  <a:gd name="T71" fmla="*/ 0 h 155"/>
                  <a:gd name="T72" fmla="*/ 46455 w 312"/>
                  <a:gd name="T73" fmla="*/ 543 h 155"/>
                  <a:gd name="T74" fmla="*/ 31251 w 312"/>
                  <a:gd name="T75" fmla="*/ 2171 h 155"/>
                  <a:gd name="T76" fmla="*/ 22383 w 312"/>
                  <a:gd name="T77" fmla="*/ 3257 h 155"/>
                  <a:gd name="T78" fmla="*/ 14359 w 312"/>
                  <a:gd name="T79" fmla="*/ 4343 h 155"/>
                  <a:gd name="T80" fmla="*/ 7602 w 312"/>
                  <a:gd name="T81" fmla="*/ 5428 h 155"/>
                  <a:gd name="T82" fmla="*/ 2956 w 312"/>
                  <a:gd name="T83" fmla="*/ 6514 h 155"/>
                  <a:gd name="T84" fmla="*/ 3801 w 312"/>
                  <a:gd name="T85" fmla="*/ 9228 h 155"/>
                  <a:gd name="T86" fmla="*/ 4645 w 312"/>
                  <a:gd name="T87" fmla="*/ 10314 h 155"/>
                  <a:gd name="T88" fmla="*/ 5490 w 312"/>
                  <a:gd name="T89" fmla="*/ 10314 h 155"/>
                  <a:gd name="T90" fmla="*/ 6335 w 312"/>
                  <a:gd name="T91" fmla="*/ 10857 h 155"/>
                  <a:gd name="T92" fmla="*/ 7602 w 312"/>
                  <a:gd name="T93" fmla="*/ 10857 h 155"/>
                  <a:gd name="T94" fmla="*/ 8024 w 312"/>
                  <a:gd name="T95" fmla="*/ 10857 h 155"/>
                  <a:gd name="T96" fmla="*/ 8446 w 312"/>
                  <a:gd name="T97" fmla="*/ 11942 h 155"/>
                  <a:gd name="T98" fmla="*/ 8446 w 312"/>
                  <a:gd name="T99" fmla="*/ 14113 h 155"/>
                  <a:gd name="T100" fmla="*/ 8446 w 312"/>
                  <a:gd name="T101" fmla="*/ 16285 h 155"/>
                  <a:gd name="T102" fmla="*/ 8024 w 312"/>
                  <a:gd name="T103" fmla="*/ 18999 h 155"/>
                  <a:gd name="T104" fmla="*/ 7602 w 312"/>
                  <a:gd name="T105" fmla="*/ 21170 h 155"/>
                  <a:gd name="T106" fmla="*/ 6335 w 312"/>
                  <a:gd name="T107" fmla="*/ 22799 h 155"/>
                  <a:gd name="T108" fmla="*/ 5068 w 312"/>
                  <a:gd name="T109" fmla="*/ 24427 h 155"/>
                  <a:gd name="T110" fmla="*/ 3801 w 312"/>
                  <a:gd name="T111" fmla="*/ 26056 h 155"/>
                  <a:gd name="T112" fmla="*/ 1689 w 312"/>
                  <a:gd name="T113" fmla="*/ 26598 h 155"/>
                  <a:gd name="T114" fmla="*/ 0 w 312"/>
                  <a:gd name="T115" fmla="*/ 27141 h 155"/>
                  <a:gd name="T116" fmla="*/ 31251 w 312"/>
                  <a:gd name="T117" fmla="*/ 36912 h 155"/>
                  <a:gd name="T118" fmla="*/ 36741 w 312"/>
                  <a:gd name="T119" fmla="*/ 60254 h 155"/>
                  <a:gd name="T120" fmla="*/ 70104 w 312"/>
                  <a:gd name="T121" fmla="*/ 66768 h 155"/>
                  <a:gd name="T122" fmla="*/ 81084 w 312"/>
                  <a:gd name="T123" fmla="*/ 84138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342">
                <a:extLst>
                  <a:ext uri="{FF2B5EF4-FFF2-40B4-BE49-F238E27FC236}">
                    <a16:creationId xmlns:a16="http://schemas.microsoft.com/office/drawing/2014/main" id="{8541A85F-8F13-4655-9145-56EB7D491811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879978" y="3147666"/>
                <a:ext cx="702294" cy="463479"/>
              </a:xfrm>
              <a:custGeom>
                <a:avLst/>
                <a:gdLst>
                  <a:gd name="T0" fmla="*/ 118852 w 505"/>
                  <a:gd name="T1" fmla="*/ 18881 h 339"/>
                  <a:gd name="T2" fmla="*/ 211487 w 505"/>
                  <a:gd name="T3" fmla="*/ 45106 h 339"/>
                  <a:gd name="T4" fmla="*/ 208865 w 505"/>
                  <a:gd name="T5" fmla="*/ 57169 h 339"/>
                  <a:gd name="T6" fmla="*/ 205806 w 505"/>
                  <a:gd name="T7" fmla="*/ 67658 h 339"/>
                  <a:gd name="T8" fmla="*/ 201437 w 505"/>
                  <a:gd name="T9" fmla="*/ 76050 h 339"/>
                  <a:gd name="T10" fmla="*/ 197067 w 505"/>
                  <a:gd name="T11" fmla="*/ 80246 h 339"/>
                  <a:gd name="T12" fmla="*/ 201437 w 505"/>
                  <a:gd name="T13" fmla="*/ 96505 h 339"/>
                  <a:gd name="T14" fmla="*/ 208428 w 505"/>
                  <a:gd name="T15" fmla="*/ 112764 h 339"/>
                  <a:gd name="T16" fmla="*/ 220663 w 505"/>
                  <a:gd name="T17" fmla="*/ 135317 h 339"/>
                  <a:gd name="T18" fmla="*/ 215420 w 505"/>
                  <a:gd name="T19" fmla="*/ 142135 h 339"/>
                  <a:gd name="T20" fmla="*/ 209302 w 505"/>
                  <a:gd name="T21" fmla="*/ 153149 h 339"/>
                  <a:gd name="T22" fmla="*/ 204496 w 505"/>
                  <a:gd name="T23" fmla="*/ 164688 h 339"/>
                  <a:gd name="T24" fmla="*/ 202748 w 505"/>
                  <a:gd name="T25" fmla="*/ 177800 h 339"/>
                  <a:gd name="T26" fmla="*/ 193572 w 505"/>
                  <a:gd name="T27" fmla="*/ 177276 h 339"/>
                  <a:gd name="T28" fmla="*/ 180900 w 505"/>
                  <a:gd name="T29" fmla="*/ 175702 h 339"/>
                  <a:gd name="T30" fmla="*/ 168228 w 505"/>
                  <a:gd name="T31" fmla="*/ 173604 h 339"/>
                  <a:gd name="T32" fmla="*/ 156430 w 505"/>
                  <a:gd name="T33" fmla="*/ 170982 h 339"/>
                  <a:gd name="T34" fmla="*/ 132835 w 505"/>
                  <a:gd name="T35" fmla="*/ 170457 h 339"/>
                  <a:gd name="T36" fmla="*/ 115356 w 505"/>
                  <a:gd name="T37" fmla="*/ 168359 h 339"/>
                  <a:gd name="T38" fmla="*/ 108365 w 505"/>
                  <a:gd name="T39" fmla="*/ 166261 h 339"/>
                  <a:gd name="T40" fmla="*/ 101374 w 505"/>
                  <a:gd name="T41" fmla="*/ 162590 h 339"/>
                  <a:gd name="T42" fmla="*/ 93072 w 505"/>
                  <a:gd name="T43" fmla="*/ 157345 h 339"/>
                  <a:gd name="T44" fmla="*/ 78652 w 505"/>
                  <a:gd name="T45" fmla="*/ 151576 h 339"/>
                  <a:gd name="T46" fmla="*/ 63796 w 505"/>
                  <a:gd name="T47" fmla="*/ 143184 h 339"/>
                  <a:gd name="T48" fmla="*/ 42822 w 505"/>
                  <a:gd name="T49" fmla="*/ 130596 h 339"/>
                  <a:gd name="T50" fmla="*/ 27091 w 505"/>
                  <a:gd name="T51" fmla="*/ 108044 h 339"/>
                  <a:gd name="T52" fmla="*/ 22722 w 505"/>
                  <a:gd name="T53" fmla="*/ 88638 h 339"/>
                  <a:gd name="T54" fmla="*/ 15730 w 505"/>
                  <a:gd name="T55" fmla="*/ 65036 h 339"/>
                  <a:gd name="T56" fmla="*/ 6554 w 505"/>
                  <a:gd name="T57" fmla="*/ 43532 h 339"/>
                  <a:gd name="T58" fmla="*/ 874 w 505"/>
                  <a:gd name="T59" fmla="*/ 33567 h 339"/>
                  <a:gd name="T60" fmla="*/ 2185 w 505"/>
                  <a:gd name="T61" fmla="*/ 31994 h 339"/>
                  <a:gd name="T62" fmla="*/ 4807 w 505"/>
                  <a:gd name="T63" fmla="*/ 29371 h 339"/>
                  <a:gd name="T64" fmla="*/ 4807 w 505"/>
                  <a:gd name="T65" fmla="*/ 25175 h 339"/>
                  <a:gd name="T66" fmla="*/ 4807 w 505"/>
                  <a:gd name="T67" fmla="*/ 22553 h 339"/>
                  <a:gd name="T68" fmla="*/ 14857 w 505"/>
                  <a:gd name="T69" fmla="*/ 17832 h 339"/>
                  <a:gd name="T70" fmla="*/ 31898 w 505"/>
                  <a:gd name="T71" fmla="*/ 11539 h 339"/>
                  <a:gd name="T72" fmla="*/ 55930 w 505"/>
                  <a:gd name="T73" fmla="*/ 4196 h 339"/>
                  <a:gd name="T74" fmla="*/ 75593 w 505"/>
                  <a:gd name="T75" fmla="*/ 5769 h 339"/>
                  <a:gd name="T76" fmla="*/ 82148 w 505"/>
                  <a:gd name="T77" fmla="*/ 14686 h 339"/>
                  <a:gd name="T78" fmla="*/ 87828 w 505"/>
                  <a:gd name="T79" fmla="*/ 18357 h 339"/>
                  <a:gd name="T80" fmla="*/ 95693 w 505"/>
                  <a:gd name="T81" fmla="*/ 18881 h 339"/>
                  <a:gd name="T82" fmla="*/ 104433 w 505"/>
                  <a:gd name="T83" fmla="*/ 18881 h 339"/>
                  <a:gd name="T84" fmla="*/ 113172 w 505"/>
                  <a:gd name="T85" fmla="*/ 12588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:a16="http://schemas.microsoft.com/office/drawing/2014/main" id="{BE1A7679-EB59-4180-A414-4916041DF4C7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450518" y="3801501"/>
                <a:ext cx="798290" cy="715909"/>
              </a:xfrm>
              <a:custGeom>
                <a:avLst/>
                <a:gdLst>
                  <a:gd name="T0" fmla="*/ 141903 w 578"/>
                  <a:gd name="T1" fmla="*/ 46122 h 524"/>
                  <a:gd name="T2" fmla="*/ 135393 w 578"/>
                  <a:gd name="T3" fmla="*/ 44550 h 524"/>
                  <a:gd name="T4" fmla="*/ 130620 w 578"/>
                  <a:gd name="T5" fmla="*/ 41405 h 524"/>
                  <a:gd name="T6" fmla="*/ 119337 w 578"/>
                  <a:gd name="T7" fmla="*/ 34592 h 524"/>
                  <a:gd name="T8" fmla="*/ 108922 w 578"/>
                  <a:gd name="T9" fmla="*/ 40881 h 524"/>
                  <a:gd name="T10" fmla="*/ 106753 w 578"/>
                  <a:gd name="T11" fmla="*/ 55032 h 524"/>
                  <a:gd name="T12" fmla="*/ 109790 w 578"/>
                  <a:gd name="T13" fmla="*/ 80190 h 524"/>
                  <a:gd name="T14" fmla="*/ 117167 w 578"/>
                  <a:gd name="T15" fmla="*/ 90148 h 524"/>
                  <a:gd name="T16" fmla="*/ 124545 w 578"/>
                  <a:gd name="T17" fmla="*/ 93293 h 524"/>
                  <a:gd name="T18" fmla="*/ 129318 w 578"/>
                  <a:gd name="T19" fmla="*/ 100106 h 524"/>
                  <a:gd name="T20" fmla="*/ 152318 w 578"/>
                  <a:gd name="T21" fmla="*/ 117926 h 524"/>
                  <a:gd name="T22" fmla="*/ 194845 w 578"/>
                  <a:gd name="T23" fmla="*/ 161952 h 524"/>
                  <a:gd name="T24" fmla="*/ 206996 w 578"/>
                  <a:gd name="T25" fmla="*/ 168765 h 524"/>
                  <a:gd name="T26" fmla="*/ 218712 w 578"/>
                  <a:gd name="T27" fmla="*/ 171910 h 524"/>
                  <a:gd name="T28" fmla="*/ 232599 w 578"/>
                  <a:gd name="T29" fmla="*/ 186585 h 524"/>
                  <a:gd name="T30" fmla="*/ 250825 w 578"/>
                  <a:gd name="T31" fmla="*/ 197068 h 524"/>
                  <a:gd name="T32" fmla="*/ 245184 w 578"/>
                  <a:gd name="T33" fmla="*/ 213315 h 524"/>
                  <a:gd name="T34" fmla="*/ 228259 w 578"/>
                  <a:gd name="T35" fmla="*/ 200737 h 524"/>
                  <a:gd name="T36" fmla="*/ 220448 w 578"/>
                  <a:gd name="T37" fmla="*/ 197068 h 524"/>
                  <a:gd name="T38" fmla="*/ 216109 w 578"/>
                  <a:gd name="T39" fmla="*/ 208074 h 524"/>
                  <a:gd name="T40" fmla="*/ 219580 w 578"/>
                  <a:gd name="T41" fmla="*/ 223274 h 524"/>
                  <a:gd name="T42" fmla="*/ 223052 w 578"/>
                  <a:gd name="T43" fmla="*/ 231659 h 524"/>
                  <a:gd name="T44" fmla="*/ 216977 w 578"/>
                  <a:gd name="T45" fmla="*/ 245286 h 524"/>
                  <a:gd name="T46" fmla="*/ 209599 w 578"/>
                  <a:gd name="T47" fmla="*/ 264679 h 524"/>
                  <a:gd name="T48" fmla="*/ 201788 w 578"/>
                  <a:gd name="T49" fmla="*/ 273589 h 524"/>
                  <a:gd name="T50" fmla="*/ 189204 w 578"/>
                  <a:gd name="T51" fmla="*/ 264679 h 524"/>
                  <a:gd name="T52" fmla="*/ 197883 w 578"/>
                  <a:gd name="T53" fmla="*/ 253672 h 524"/>
                  <a:gd name="T54" fmla="*/ 201788 w 578"/>
                  <a:gd name="T55" fmla="*/ 244762 h 524"/>
                  <a:gd name="T56" fmla="*/ 200052 w 578"/>
                  <a:gd name="T57" fmla="*/ 231135 h 524"/>
                  <a:gd name="T58" fmla="*/ 185298 w 578"/>
                  <a:gd name="T59" fmla="*/ 207026 h 524"/>
                  <a:gd name="T60" fmla="*/ 167072 w 578"/>
                  <a:gd name="T61" fmla="*/ 193399 h 524"/>
                  <a:gd name="T62" fmla="*/ 154053 w 578"/>
                  <a:gd name="T63" fmla="*/ 186585 h 524"/>
                  <a:gd name="T64" fmla="*/ 137997 w 578"/>
                  <a:gd name="T65" fmla="*/ 172958 h 524"/>
                  <a:gd name="T66" fmla="*/ 116299 w 578"/>
                  <a:gd name="T67" fmla="*/ 165097 h 524"/>
                  <a:gd name="T68" fmla="*/ 94602 w 578"/>
                  <a:gd name="T69" fmla="*/ 149373 h 524"/>
                  <a:gd name="T70" fmla="*/ 70300 w 578"/>
                  <a:gd name="T71" fmla="*/ 120023 h 524"/>
                  <a:gd name="T72" fmla="*/ 54678 w 578"/>
                  <a:gd name="T73" fmla="*/ 88052 h 524"/>
                  <a:gd name="T74" fmla="*/ 33414 w 578"/>
                  <a:gd name="T75" fmla="*/ 80714 h 524"/>
                  <a:gd name="T76" fmla="*/ 22132 w 578"/>
                  <a:gd name="T77" fmla="*/ 82286 h 524"/>
                  <a:gd name="T78" fmla="*/ 6509 w 578"/>
                  <a:gd name="T79" fmla="*/ 86479 h 524"/>
                  <a:gd name="T80" fmla="*/ 1302 w 578"/>
                  <a:gd name="T81" fmla="*/ 69707 h 524"/>
                  <a:gd name="T82" fmla="*/ 434 w 578"/>
                  <a:gd name="T83" fmla="*/ 48743 h 524"/>
                  <a:gd name="T84" fmla="*/ 2604 w 578"/>
                  <a:gd name="T85" fmla="*/ 25682 h 524"/>
                  <a:gd name="T86" fmla="*/ 19528 w 578"/>
                  <a:gd name="T87" fmla="*/ 21489 h 524"/>
                  <a:gd name="T88" fmla="*/ 29509 w 578"/>
                  <a:gd name="T89" fmla="*/ 17296 h 524"/>
                  <a:gd name="T90" fmla="*/ 36018 w 578"/>
                  <a:gd name="T91" fmla="*/ 25158 h 524"/>
                  <a:gd name="T92" fmla="*/ 45131 w 578"/>
                  <a:gd name="T93" fmla="*/ 23061 h 524"/>
                  <a:gd name="T94" fmla="*/ 64659 w 578"/>
                  <a:gd name="T95" fmla="*/ 8386 h 524"/>
                  <a:gd name="T96" fmla="*/ 103715 w 578"/>
                  <a:gd name="T97" fmla="*/ 0 h 524"/>
                  <a:gd name="T98" fmla="*/ 111526 w 578"/>
                  <a:gd name="T99" fmla="*/ 6814 h 524"/>
                  <a:gd name="T100" fmla="*/ 144072 w 578"/>
                  <a:gd name="T101" fmla="*/ 9958 h 524"/>
                  <a:gd name="T102" fmla="*/ 139733 w 578"/>
                  <a:gd name="T103" fmla="*/ 34068 h 524"/>
                  <a:gd name="T104" fmla="*/ 141035 w 578"/>
                  <a:gd name="T105" fmla="*/ 47170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3" name="Rectângulo 102">
              <a:extLst>
                <a:ext uri="{FF2B5EF4-FFF2-40B4-BE49-F238E27FC236}">
                  <a16:creationId xmlns:a16="http://schemas.microsoft.com/office/drawing/2014/main" id="{F58E307B-DEE8-4CC0-8DA5-1518A6EB7223}"/>
                </a:ext>
              </a:extLst>
            </p:cNvPr>
            <p:cNvSpPr/>
            <p:nvPr/>
          </p:nvSpPr>
          <p:spPr>
            <a:xfrm>
              <a:off x="2660562" y="5012584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10.1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24" name="Rectângulo 103">
              <a:extLst>
                <a:ext uri="{FF2B5EF4-FFF2-40B4-BE49-F238E27FC236}">
                  <a16:creationId xmlns:a16="http://schemas.microsoft.com/office/drawing/2014/main" id="{192CB6EC-EF32-486E-9B11-71DFC314AD94}"/>
                </a:ext>
              </a:extLst>
            </p:cNvPr>
            <p:cNvSpPr/>
            <p:nvPr/>
          </p:nvSpPr>
          <p:spPr>
            <a:xfrm>
              <a:off x="4139952" y="4725144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13.6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26" name="Rectângulo 105">
              <a:extLst>
                <a:ext uri="{FF2B5EF4-FFF2-40B4-BE49-F238E27FC236}">
                  <a16:creationId xmlns:a16="http://schemas.microsoft.com/office/drawing/2014/main" id="{C44529D9-1FA1-4656-9AF4-3F9BF0579513}"/>
                </a:ext>
              </a:extLst>
            </p:cNvPr>
            <p:cNvSpPr/>
            <p:nvPr/>
          </p:nvSpPr>
          <p:spPr>
            <a:xfrm>
              <a:off x="3923928" y="4005064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16.7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06" name="Agrupar 105">
            <a:extLst>
              <a:ext uri="{FF2B5EF4-FFF2-40B4-BE49-F238E27FC236}">
                <a16:creationId xmlns:a16="http://schemas.microsoft.com/office/drawing/2014/main" id="{520F6768-8154-4949-B318-BE0159DA0BC6}"/>
              </a:ext>
            </a:extLst>
          </p:cNvPr>
          <p:cNvGrpSpPr/>
          <p:nvPr/>
        </p:nvGrpSpPr>
        <p:grpSpPr>
          <a:xfrm>
            <a:off x="4912889" y="3775215"/>
            <a:ext cx="3737716" cy="2085657"/>
            <a:chOff x="2627661" y="3573016"/>
            <a:chExt cx="3737716" cy="2085657"/>
          </a:xfrm>
        </p:grpSpPr>
        <p:grpSp>
          <p:nvGrpSpPr>
            <p:cNvPr id="107" name="Grupo 17">
              <a:extLst>
                <a:ext uri="{FF2B5EF4-FFF2-40B4-BE49-F238E27FC236}">
                  <a16:creationId xmlns:a16="http://schemas.microsoft.com/office/drawing/2014/main" id="{4325149D-73BE-4847-B9F6-F40F3DACFCA1}"/>
                </a:ext>
              </a:extLst>
            </p:cNvPr>
            <p:cNvGrpSpPr/>
            <p:nvPr/>
          </p:nvGrpSpPr>
          <p:grpSpPr>
            <a:xfrm>
              <a:off x="2843808" y="3573016"/>
              <a:ext cx="3521569" cy="2085657"/>
              <a:chOff x="2202559" y="2783502"/>
              <a:chExt cx="3521569" cy="2085657"/>
            </a:xfrm>
          </p:grpSpPr>
          <p:grpSp>
            <p:nvGrpSpPr>
              <p:cNvPr id="111" name="Group 117">
                <a:extLst>
                  <a:ext uri="{FF2B5EF4-FFF2-40B4-BE49-F238E27FC236}">
                    <a16:creationId xmlns:a16="http://schemas.microsoft.com/office/drawing/2014/main" id="{595AFE70-A9FF-4690-AD7E-9DC77BDADB25}"/>
                  </a:ext>
                </a:extLst>
              </p:cNvPr>
              <p:cNvGrpSpPr>
                <a:grpSpLocks/>
              </p:cNvGrpSpPr>
              <p:nvPr>
                <p:custDataLst>
                  <p:tags r:id="rId1"/>
                </p:custDataLst>
              </p:nvPr>
            </p:nvGrpSpPr>
            <p:grpSpPr bwMode="auto">
              <a:xfrm>
                <a:off x="5006876" y="4298170"/>
                <a:ext cx="63499" cy="533788"/>
                <a:chOff x="3950" y="2430"/>
                <a:chExt cx="36" cy="234"/>
              </a:xfrm>
            </p:grpSpPr>
            <p:sp>
              <p:nvSpPr>
                <p:cNvPr id="159" name="Freeform 118">
                  <a:extLst>
                    <a:ext uri="{FF2B5EF4-FFF2-40B4-BE49-F238E27FC236}">
                      <a16:creationId xmlns:a16="http://schemas.microsoft.com/office/drawing/2014/main" id="{C23BF869-5BA2-445B-95CE-EC99F9B06E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6 h 20"/>
                    <a:gd name="T4" fmla="*/ 6 w 19"/>
                    <a:gd name="T5" fmla="*/ 4 h 20"/>
                    <a:gd name="T6" fmla="*/ 4 w 19"/>
                    <a:gd name="T7" fmla="*/ 2 h 20"/>
                    <a:gd name="T8" fmla="*/ 3 w 19"/>
                    <a:gd name="T9" fmla="*/ 1 h 20"/>
                    <a:gd name="T10" fmla="*/ 1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0" name="Freeform 119">
                  <a:extLst>
                    <a:ext uri="{FF2B5EF4-FFF2-40B4-BE49-F238E27FC236}">
                      <a16:creationId xmlns:a16="http://schemas.microsoft.com/office/drawing/2014/main" id="{7ED2225D-8B93-42E0-8AF7-2EA878169B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4 w 19"/>
                    <a:gd name="T1" fmla="*/ 4 h 12"/>
                    <a:gd name="T2" fmla="*/ 6 w 19"/>
                    <a:gd name="T3" fmla="*/ 0 h 12"/>
                    <a:gd name="T4" fmla="*/ 0 w 19"/>
                    <a:gd name="T5" fmla="*/ 0 h 12"/>
                    <a:gd name="T6" fmla="*/ 4 w 19"/>
                    <a:gd name="T7" fmla="*/ 4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1" name="Freeform 120">
                  <a:extLst>
                    <a:ext uri="{FF2B5EF4-FFF2-40B4-BE49-F238E27FC236}">
                      <a16:creationId xmlns:a16="http://schemas.microsoft.com/office/drawing/2014/main" id="{6B057B3B-4E78-46EB-A92C-63C41B7819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3 w 19"/>
                    <a:gd name="T3" fmla="*/ 0 h 1"/>
                    <a:gd name="T4" fmla="*/ 6 w 19"/>
                    <a:gd name="T5" fmla="*/ 0 h 1"/>
                    <a:gd name="T6" fmla="*/ 3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2" name="Rectangle 121">
                  <a:extLst>
                    <a:ext uri="{FF2B5EF4-FFF2-40B4-BE49-F238E27FC236}">
                      <a16:creationId xmlns:a16="http://schemas.microsoft.com/office/drawing/2014/main" id="{0ED59059-4C96-4D27-9B03-A5234F53E8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3" name="Line 122">
                  <a:extLst>
                    <a:ext uri="{FF2B5EF4-FFF2-40B4-BE49-F238E27FC236}">
                      <a16:creationId xmlns:a16="http://schemas.microsoft.com/office/drawing/2014/main" id="{A63C9857-1FB7-4094-94F7-87E4F231EC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4" name="Freeform 123">
                  <a:extLst>
                    <a:ext uri="{FF2B5EF4-FFF2-40B4-BE49-F238E27FC236}">
                      <a16:creationId xmlns:a16="http://schemas.microsoft.com/office/drawing/2014/main" id="{DCA6E963-D9C9-4A0B-9FFF-24CEB066C8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2 w 6"/>
                    <a:gd name="T1" fmla="*/ 0 h 3"/>
                    <a:gd name="T2" fmla="*/ 2 w 6"/>
                    <a:gd name="T3" fmla="*/ 0 h 3"/>
                    <a:gd name="T4" fmla="*/ 1 w 6"/>
                    <a:gd name="T5" fmla="*/ 1 h 3"/>
                    <a:gd name="T6" fmla="*/ 0 w 6"/>
                    <a:gd name="T7" fmla="*/ 1 h 3"/>
                    <a:gd name="T8" fmla="*/ 0 w 6"/>
                    <a:gd name="T9" fmla="*/ 1 h 3"/>
                    <a:gd name="T10" fmla="*/ 0 w 6"/>
                    <a:gd name="T11" fmla="*/ 1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5" name="Freeform 124">
                  <a:extLst>
                    <a:ext uri="{FF2B5EF4-FFF2-40B4-BE49-F238E27FC236}">
                      <a16:creationId xmlns:a16="http://schemas.microsoft.com/office/drawing/2014/main" id="{AD6E4911-C9AE-4E0B-9B09-191D3330BE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5 w 14"/>
                    <a:gd name="T1" fmla="*/ 0 h 24"/>
                    <a:gd name="T2" fmla="*/ 5 w 14"/>
                    <a:gd name="T3" fmla="*/ 2 h 24"/>
                    <a:gd name="T4" fmla="*/ 3 w 14"/>
                    <a:gd name="T5" fmla="*/ 4 h 24"/>
                    <a:gd name="T6" fmla="*/ 2 w 14"/>
                    <a:gd name="T7" fmla="*/ 6 h 24"/>
                    <a:gd name="T8" fmla="*/ 0 w 14"/>
                    <a:gd name="T9" fmla="*/ 8 h 24"/>
                    <a:gd name="T10" fmla="*/ 0 w 14"/>
                    <a:gd name="T11" fmla="*/ 5 h 24"/>
                    <a:gd name="T12" fmla="*/ 0 w 14"/>
                    <a:gd name="T13" fmla="*/ 4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6" name="Line 125">
                  <a:extLst>
                    <a:ext uri="{FF2B5EF4-FFF2-40B4-BE49-F238E27FC236}">
                      <a16:creationId xmlns:a16="http://schemas.microsoft.com/office/drawing/2014/main" id="{52CE5F7D-3167-4253-B3D7-31ADF8FB8C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7" name="Freeform 126">
                  <a:extLst>
                    <a:ext uri="{FF2B5EF4-FFF2-40B4-BE49-F238E27FC236}">
                      <a16:creationId xmlns:a16="http://schemas.microsoft.com/office/drawing/2014/main" id="{59EB59EF-249D-4DE0-85E6-6B012D0233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4 w 13"/>
                    <a:gd name="T1" fmla="*/ 3 h 12"/>
                    <a:gd name="T2" fmla="*/ 0 w 13"/>
                    <a:gd name="T3" fmla="*/ 0 h 12"/>
                    <a:gd name="T4" fmla="*/ 4 w 13"/>
                    <a:gd name="T5" fmla="*/ 3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8" name="Freeform 127">
                  <a:extLst>
                    <a:ext uri="{FF2B5EF4-FFF2-40B4-BE49-F238E27FC236}">
                      <a16:creationId xmlns:a16="http://schemas.microsoft.com/office/drawing/2014/main" id="{936A447A-5D29-4DA4-A2F9-9B3B2C2552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6 h 19"/>
                    <a:gd name="T4" fmla="*/ 0 w 7"/>
                    <a:gd name="T5" fmla="*/ 0 h 19"/>
                    <a:gd name="T6" fmla="*/ 2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9" name="Line 128">
                  <a:extLst>
                    <a:ext uri="{FF2B5EF4-FFF2-40B4-BE49-F238E27FC236}">
                      <a16:creationId xmlns:a16="http://schemas.microsoft.com/office/drawing/2014/main" id="{B4B6EB37-37F7-4797-92CC-56A4F0F63FE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0" name="Freeform 129">
                  <a:extLst>
                    <a:ext uri="{FF2B5EF4-FFF2-40B4-BE49-F238E27FC236}">
                      <a16:creationId xmlns:a16="http://schemas.microsoft.com/office/drawing/2014/main" id="{59D6277A-73EA-4427-80F1-570FD4F982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6 h 18"/>
                    <a:gd name="T2" fmla="*/ 2 w 8"/>
                    <a:gd name="T3" fmla="*/ 2 h 18"/>
                    <a:gd name="T4" fmla="*/ 0 w 8"/>
                    <a:gd name="T5" fmla="*/ 0 h 18"/>
                    <a:gd name="T6" fmla="*/ 0 w 8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1" name="Freeform 130">
                  <a:extLst>
                    <a:ext uri="{FF2B5EF4-FFF2-40B4-BE49-F238E27FC236}">
                      <a16:creationId xmlns:a16="http://schemas.microsoft.com/office/drawing/2014/main" id="{4986A7A1-5C25-47C2-8FC5-F5F31AD2A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7 h 19"/>
                    <a:gd name="T4" fmla="*/ 2 w 6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2" name="Freeform 131">
                  <a:extLst>
                    <a:ext uri="{FF2B5EF4-FFF2-40B4-BE49-F238E27FC236}">
                      <a16:creationId xmlns:a16="http://schemas.microsoft.com/office/drawing/2014/main" id="{E23A16B4-499A-4C3F-AF8C-325FFD6BA0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5 h 19"/>
                    <a:gd name="T4" fmla="*/ 10 w 28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3" name="Freeform 132">
                  <a:extLst>
                    <a:ext uri="{FF2B5EF4-FFF2-40B4-BE49-F238E27FC236}">
                      <a16:creationId xmlns:a16="http://schemas.microsoft.com/office/drawing/2014/main" id="{A69B29F1-E44F-4B8E-9ED0-09FF8F3460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5 w 15"/>
                    <a:gd name="T1" fmla="*/ 5 h 19"/>
                    <a:gd name="T2" fmla="*/ 3 w 15"/>
                    <a:gd name="T3" fmla="*/ 2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4" name="Freeform 133">
                  <a:extLst>
                    <a:ext uri="{FF2B5EF4-FFF2-40B4-BE49-F238E27FC236}">
                      <a16:creationId xmlns:a16="http://schemas.microsoft.com/office/drawing/2014/main" id="{55BF3700-D3A3-4A72-8E81-CEAFA8AFF3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58"/>
                  <a:ext cx="6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6 h 20"/>
                    <a:gd name="T4" fmla="*/ 6 w 19"/>
                    <a:gd name="T5" fmla="*/ 4 h 20"/>
                    <a:gd name="T6" fmla="*/ 4 w 19"/>
                    <a:gd name="T7" fmla="*/ 2 h 20"/>
                    <a:gd name="T8" fmla="*/ 3 w 19"/>
                    <a:gd name="T9" fmla="*/ 1 h 20"/>
                    <a:gd name="T10" fmla="*/ 1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5" name="Freeform 134">
                  <a:extLst>
                    <a:ext uri="{FF2B5EF4-FFF2-40B4-BE49-F238E27FC236}">
                      <a16:creationId xmlns:a16="http://schemas.microsoft.com/office/drawing/2014/main" id="{D2C0BDAA-D3B0-4851-9581-D0BF4126E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44"/>
                  <a:ext cx="6" cy="4"/>
                </a:xfrm>
                <a:custGeom>
                  <a:avLst/>
                  <a:gdLst>
                    <a:gd name="T0" fmla="*/ 4 w 19"/>
                    <a:gd name="T1" fmla="*/ 4 h 12"/>
                    <a:gd name="T2" fmla="*/ 6 w 19"/>
                    <a:gd name="T3" fmla="*/ 0 h 12"/>
                    <a:gd name="T4" fmla="*/ 0 w 19"/>
                    <a:gd name="T5" fmla="*/ 0 h 12"/>
                    <a:gd name="T6" fmla="*/ 4 w 19"/>
                    <a:gd name="T7" fmla="*/ 4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6" name="Freeform 135">
                  <a:extLst>
                    <a:ext uri="{FF2B5EF4-FFF2-40B4-BE49-F238E27FC236}">
                      <a16:creationId xmlns:a16="http://schemas.microsoft.com/office/drawing/2014/main" id="{410D12F3-54CB-4810-ABE4-77B3FD42C6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637"/>
                  <a:ext cx="6" cy="1"/>
                </a:xfrm>
                <a:custGeom>
                  <a:avLst/>
                  <a:gdLst>
                    <a:gd name="T0" fmla="*/ 0 w 19"/>
                    <a:gd name="T1" fmla="*/ 0 h 1"/>
                    <a:gd name="T2" fmla="*/ 3 w 19"/>
                    <a:gd name="T3" fmla="*/ 0 h 1"/>
                    <a:gd name="T4" fmla="*/ 6 w 19"/>
                    <a:gd name="T5" fmla="*/ 0 h 1"/>
                    <a:gd name="T6" fmla="*/ 3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7" name="Rectangle 136">
                  <a:extLst>
                    <a:ext uri="{FF2B5EF4-FFF2-40B4-BE49-F238E27FC236}">
                      <a16:creationId xmlns:a16="http://schemas.microsoft.com/office/drawing/2014/main" id="{C1C368F9-1E88-4770-A792-B259404040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5" y="2632"/>
                  <a:ext cx="8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8" name="Line 137">
                  <a:extLst>
                    <a:ext uri="{FF2B5EF4-FFF2-40B4-BE49-F238E27FC236}">
                      <a16:creationId xmlns:a16="http://schemas.microsoft.com/office/drawing/2014/main" id="{307CA7B0-730E-43D4-9D45-5B34EC82CCA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9" name="Freeform 138">
                  <a:extLst>
                    <a:ext uri="{FF2B5EF4-FFF2-40B4-BE49-F238E27FC236}">
                      <a16:creationId xmlns:a16="http://schemas.microsoft.com/office/drawing/2014/main" id="{C9DB4270-1892-4761-811F-90E5580ED3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5" y="2595"/>
                  <a:ext cx="2" cy="1"/>
                </a:xfrm>
                <a:custGeom>
                  <a:avLst/>
                  <a:gdLst>
                    <a:gd name="T0" fmla="*/ 2 w 6"/>
                    <a:gd name="T1" fmla="*/ 0 h 3"/>
                    <a:gd name="T2" fmla="*/ 2 w 6"/>
                    <a:gd name="T3" fmla="*/ 0 h 3"/>
                    <a:gd name="T4" fmla="*/ 1 w 6"/>
                    <a:gd name="T5" fmla="*/ 1 h 3"/>
                    <a:gd name="T6" fmla="*/ 0 w 6"/>
                    <a:gd name="T7" fmla="*/ 1 h 3"/>
                    <a:gd name="T8" fmla="*/ 0 w 6"/>
                    <a:gd name="T9" fmla="*/ 1 h 3"/>
                    <a:gd name="T10" fmla="*/ 0 w 6"/>
                    <a:gd name="T11" fmla="*/ 1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0" name="Freeform 139">
                  <a:extLst>
                    <a:ext uri="{FF2B5EF4-FFF2-40B4-BE49-F238E27FC236}">
                      <a16:creationId xmlns:a16="http://schemas.microsoft.com/office/drawing/2014/main" id="{32918436-6CCF-456E-A3C2-A2571A95B2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5 w 14"/>
                    <a:gd name="T1" fmla="*/ 0 h 24"/>
                    <a:gd name="T2" fmla="*/ 5 w 14"/>
                    <a:gd name="T3" fmla="*/ 2 h 24"/>
                    <a:gd name="T4" fmla="*/ 3 w 14"/>
                    <a:gd name="T5" fmla="*/ 4 h 24"/>
                    <a:gd name="T6" fmla="*/ 2 w 14"/>
                    <a:gd name="T7" fmla="*/ 6 h 24"/>
                    <a:gd name="T8" fmla="*/ 0 w 14"/>
                    <a:gd name="T9" fmla="*/ 8 h 24"/>
                    <a:gd name="T10" fmla="*/ 0 w 14"/>
                    <a:gd name="T11" fmla="*/ 5 h 24"/>
                    <a:gd name="T12" fmla="*/ 0 w 14"/>
                    <a:gd name="T13" fmla="*/ 4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Line 140">
                  <a:extLst>
                    <a:ext uri="{FF2B5EF4-FFF2-40B4-BE49-F238E27FC236}">
                      <a16:creationId xmlns:a16="http://schemas.microsoft.com/office/drawing/2014/main" id="{0049F2AA-AC18-4F56-A1B8-5776D76850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2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2" name="Freeform 141">
                  <a:extLst>
                    <a:ext uri="{FF2B5EF4-FFF2-40B4-BE49-F238E27FC236}">
                      <a16:creationId xmlns:a16="http://schemas.microsoft.com/office/drawing/2014/main" id="{13BA802A-07E1-45AF-8497-47C97CE46E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4" cy="3"/>
                </a:xfrm>
                <a:custGeom>
                  <a:avLst/>
                  <a:gdLst>
                    <a:gd name="T0" fmla="*/ 4 w 13"/>
                    <a:gd name="T1" fmla="*/ 3 h 12"/>
                    <a:gd name="T2" fmla="*/ 0 w 13"/>
                    <a:gd name="T3" fmla="*/ 0 h 12"/>
                    <a:gd name="T4" fmla="*/ 4 w 13"/>
                    <a:gd name="T5" fmla="*/ 3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3" name="Freeform 142">
                  <a:extLst>
                    <a:ext uri="{FF2B5EF4-FFF2-40B4-BE49-F238E27FC236}">
                      <a16:creationId xmlns:a16="http://schemas.microsoft.com/office/drawing/2014/main" id="{7D34371F-C5C7-4160-9C14-74210EB213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2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6 h 19"/>
                    <a:gd name="T4" fmla="*/ 0 w 7"/>
                    <a:gd name="T5" fmla="*/ 0 h 19"/>
                    <a:gd name="T6" fmla="*/ 2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4" name="Line 143">
                  <a:extLst>
                    <a:ext uri="{FF2B5EF4-FFF2-40B4-BE49-F238E27FC236}">
                      <a16:creationId xmlns:a16="http://schemas.microsoft.com/office/drawing/2014/main" id="{AEDCA1A6-4532-486B-82F6-321A9B458A2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5" name="Freeform 144">
                  <a:extLst>
                    <a:ext uri="{FF2B5EF4-FFF2-40B4-BE49-F238E27FC236}">
                      <a16:creationId xmlns:a16="http://schemas.microsoft.com/office/drawing/2014/main" id="{D32540AB-203D-435A-B548-2FBA5BF4A0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6 h 18"/>
                    <a:gd name="T2" fmla="*/ 2 w 8"/>
                    <a:gd name="T3" fmla="*/ 2 h 18"/>
                    <a:gd name="T4" fmla="*/ 0 w 8"/>
                    <a:gd name="T5" fmla="*/ 0 h 18"/>
                    <a:gd name="T6" fmla="*/ 0 w 8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6" name="Freeform 145">
                  <a:extLst>
                    <a:ext uri="{FF2B5EF4-FFF2-40B4-BE49-F238E27FC236}">
                      <a16:creationId xmlns:a16="http://schemas.microsoft.com/office/drawing/2014/main" id="{B9D43D5C-646F-4AD4-BC8E-66ED79C6141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2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7 h 19"/>
                    <a:gd name="T4" fmla="*/ 2 w 6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7" name="Freeform 146">
                  <a:extLst>
                    <a:ext uri="{FF2B5EF4-FFF2-40B4-BE49-F238E27FC236}">
                      <a16:creationId xmlns:a16="http://schemas.microsoft.com/office/drawing/2014/main" id="{C8CE6AC2-C39A-48D7-A89F-ABAFDA7DBE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0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5 h 19"/>
                    <a:gd name="T4" fmla="*/ 10 w 28"/>
                    <a:gd name="T5" fmla="*/ 5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8" name="Freeform 147">
                  <a:extLst>
                    <a:ext uri="{FF2B5EF4-FFF2-40B4-BE49-F238E27FC236}">
                      <a16:creationId xmlns:a16="http://schemas.microsoft.com/office/drawing/2014/main" id="{D7844A31-CF5F-4AF1-B68A-0A578F7C2D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5" cy="5"/>
                </a:xfrm>
                <a:custGeom>
                  <a:avLst/>
                  <a:gdLst>
                    <a:gd name="T0" fmla="*/ 5 w 15"/>
                    <a:gd name="T1" fmla="*/ 5 h 19"/>
                    <a:gd name="T2" fmla="*/ 3 w 15"/>
                    <a:gd name="T3" fmla="*/ 2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9" name="Freeform 148">
                  <a:extLst>
                    <a:ext uri="{FF2B5EF4-FFF2-40B4-BE49-F238E27FC236}">
                      <a16:creationId xmlns:a16="http://schemas.microsoft.com/office/drawing/2014/main" id="{3FA0C5CE-8ED2-4C53-8A06-F2A9F8168C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5 w 20"/>
                    <a:gd name="T1" fmla="*/ 6 h 18"/>
                    <a:gd name="T2" fmla="*/ 7 w 20"/>
                    <a:gd name="T3" fmla="*/ 0 h 18"/>
                    <a:gd name="T4" fmla="*/ 0 w 20"/>
                    <a:gd name="T5" fmla="*/ 0 h 18"/>
                    <a:gd name="T6" fmla="*/ 5 w 20"/>
                    <a:gd name="T7" fmla="*/ 6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PT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12" name="Freeform 11">
                <a:extLst>
                  <a:ext uri="{FF2B5EF4-FFF2-40B4-BE49-F238E27FC236}">
                    <a16:creationId xmlns:a16="http://schemas.microsoft.com/office/drawing/2014/main" id="{7004266E-2542-4D7C-930A-868A61DA2F06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222768" y="4182217"/>
                <a:ext cx="262728" cy="417957"/>
              </a:xfrm>
              <a:custGeom>
                <a:avLst/>
                <a:gdLst>
                  <a:gd name="T0" fmla="*/ 16338 w 192"/>
                  <a:gd name="T1" fmla="*/ 1567 h 307"/>
                  <a:gd name="T2" fmla="*/ 15908 w 192"/>
                  <a:gd name="T3" fmla="*/ 0 h 307"/>
                  <a:gd name="T4" fmla="*/ 24507 w 192"/>
                  <a:gd name="T5" fmla="*/ 1567 h 307"/>
                  <a:gd name="T6" fmla="*/ 47294 w 192"/>
                  <a:gd name="T7" fmla="*/ 7312 h 307"/>
                  <a:gd name="T8" fmla="*/ 66642 w 192"/>
                  <a:gd name="T9" fmla="*/ 13057 h 307"/>
                  <a:gd name="T10" fmla="*/ 77821 w 192"/>
                  <a:gd name="T11" fmla="*/ 14624 h 307"/>
                  <a:gd name="T12" fmla="*/ 82550 w 192"/>
                  <a:gd name="T13" fmla="*/ 18279 h 307"/>
                  <a:gd name="T14" fmla="*/ 80830 w 192"/>
                  <a:gd name="T15" fmla="*/ 24547 h 307"/>
                  <a:gd name="T16" fmla="*/ 75241 w 192"/>
                  <a:gd name="T17" fmla="*/ 42826 h 307"/>
                  <a:gd name="T18" fmla="*/ 67932 w 192"/>
                  <a:gd name="T19" fmla="*/ 66328 h 307"/>
                  <a:gd name="T20" fmla="*/ 63202 w 192"/>
                  <a:gd name="T21" fmla="*/ 86175 h 307"/>
                  <a:gd name="T22" fmla="*/ 62772 w 192"/>
                  <a:gd name="T23" fmla="*/ 108110 h 307"/>
                  <a:gd name="T24" fmla="*/ 61913 w 192"/>
                  <a:gd name="T25" fmla="*/ 130045 h 307"/>
                  <a:gd name="T26" fmla="*/ 57613 w 192"/>
                  <a:gd name="T27" fmla="*/ 144669 h 307"/>
                  <a:gd name="T28" fmla="*/ 45574 w 192"/>
                  <a:gd name="T29" fmla="*/ 154592 h 307"/>
                  <a:gd name="T30" fmla="*/ 35686 w 192"/>
                  <a:gd name="T31" fmla="*/ 158248 h 307"/>
                  <a:gd name="T32" fmla="*/ 30956 w 192"/>
                  <a:gd name="T33" fmla="*/ 160337 h 307"/>
                  <a:gd name="T34" fmla="*/ 22357 w 192"/>
                  <a:gd name="T35" fmla="*/ 159292 h 307"/>
                  <a:gd name="T36" fmla="*/ 13758 w 192"/>
                  <a:gd name="T37" fmla="*/ 151981 h 307"/>
                  <a:gd name="T38" fmla="*/ 12898 w 192"/>
                  <a:gd name="T39" fmla="*/ 144669 h 307"/>
                  <a:gd name="T40" fmla="*/ 9459 w 192"/>
                  <a:gd name="T41" fmla="*/ 134223 h 307"/>
                  <a:gd name="T42" fmla="*/ 4299 w 192"/>
                  <a:gd name="T43" fmla="*/ 120644 h 307"/>
                  <a:gd name="T44" fmla="*/ 860 w 192"/>
                  <a:gd name="T45" fmla="*/ 110199 h 307"/>
                  <a:gd name="T46" fmla="*/ 0 w 192"/>
                  <a:gd name="T47" fmla="*/ 102887 h 307"/>
                  <a:gd name="T48" fmla="*/ 0 w 192"/>
                  <a:gd name="T49" fmla="*/ 94009 h 307"/>
                  <a:gd name="T50" fmla="*/ 860 w 192"/>
                  <a:gd name="T51" fmla="*/ 86175 h 307"/>
                  <a:gd name="T52" fmla="*/ 4729 w 192"/>
                  <a:gd name="T53" fmla="*/ 75729 h 307"/>
                  <a:gd name="T54" fmla="*/ 14188 w 192"/>
                  <a:gd name="T55" fmla="*/ 56927 h 307"/>
                  <a:gd name="T56" fmla="*/ 20638 w 192"/>
                  <a:gd name="T57" fmla="*/ 42304 h 307"/>
                  <a:gd name="T58" fmla="*/ 22357 w 192"/>
                  <a:gd name="T59" fmla="*/ 32381 h 307"/>
                  <a:gd name="T60" fmla="*/ 22787 w 192"/>
                  <a:gd name="T61" fmla="*/ 21413 h 307"/>
                  <a:gd name="T62" fmla="*/ 23647 w 192"/>
                  <a:gd name="T63" fmla="*/ 15668 h 307"/>
                  <a:gd name="T64" fmla="*/ 24507 w 192"/>
                  <a:gd name="T65" fmla="*/ 13579 h 307"/>
                  <a:gd name="T66" fmla="*/ 25797 w 192"/>
                  <a:gd name="T67" fmla="*/ 11490 h 307"/>
                  <a:gd name="T68" fmla="*/ 18918 w 192"/>
                  <a:gd name="T69" fmla="*/ 3656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12">
                <a:extLst>
                  <a:ext uri="{FF2B5EF4-FFF2-40B4-BE49-F238E27FC236}">
                    <a16:creationId xmlns:a16="http://schemas.microsoft.com/office/drawing/2014/main" id="{2F87082D-B293-4DC7-A54E-20EEEF3DA260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480445" y="2841438"/>
                <a:ext cx="545667" cy="703496"/>
              </a:xfrm>
              <a:custGeom>
                <a:avLst/>
                <a:gdLst>
                  <a:gd name="T0" fmla="*/ 11200 w 398"/>
                  <a:gd name="T1" fmla="*/ 1042 h 518"/>
                  <a:gd name="T2" fmla="*/ 40924 w 398"/>
                  <a:gd name="T3" fmla="*/ 6773 h 518"/>
                  <a:gd name="T4" fmla="*/ 49970 w 398"/>
                  <a:gd name="T5" fmla="*/ 11983 h 518"/>
                  <a:gd name="T6" fmla="*/ 34462 w 398"/>
                  <a:gd name="T7" fmla="*/ 24487 h 518"/>
                  <a:gd name="T8" fmla="*/ 27570 w 398"/>
                  <a:gd name="T9" fmla="*/ 32302 h 518"/>
                  <a:gd name="T10" fmla="*/ 33170 w 398"/>
                  <a:gd name="T11" fmla="*/ 35949 h 518"/>
                  <a:gd name="T12" fmla="*/ 71940 w 398"/>
                  <a:gd name="T13" fmla="*/ 41159 h 518"/>
                  <a:gd name="T14" fmla="*/ 90464 w 398"/>
                  <a:gd name="T15" fmla="*/ 56788 h 518"/>
                  <a:gd name="T16" fmla="*/ 66340 w 398"/>
                  <a:gd name="T17" fmla="*/ 66166 h 518"/>
                  <a:gd name="T18" fmla="*/ 63324 w 398"/>
                  <a:gd name="T19" fmla="*/ 71897 h 518"/>
                  <a:gd name="T20" fmla="*/ 82279 w 398"/>
                  <a:gd name="T21" fmla="*/ 74502 h 518"/>
                  <a:gd name="T22" fmla="*/ 90894 w 398"/>
                  <a:gd name="T23" fmla="*/ 81275 h 518"/>
                  <a:gd name="T24" fmla="*/ 104679 w 398"/>
                  <a:gd name="T25" fmla="*/ 99510 h 518"/>
                  <a:gd name="T26" fmla="*/ 111141 w 398"/>
                  <a:gd name="T27" fmla="*/ 110451 h 518"/>
                  <a:gd name="T28" fmla="*/ 112003 w 398"/>
                  <a:gd name="T29" fmla="*/ 123476 h 518"/>
                  <a:gd name="T30" fmla="*/ 117172 w 398"/>
                  <a:gd name="T31" fmla="*/ 132333 h 518"/>
                  <a:gd name="T32" fmla="*/ 123203 w 398"/>
                  <a:gd name="T33" fmla="*/ 145357 h 518"/>
                  <a:gd name="T34" fmla="*/ 131818 w 398"/>
                  <a:gd name="T35" fmla="*/ 154735 h 518"/>
                  <a:gd name="T36" fmla="*/ 140865 w 398"/>
                  <a:gd name="T37" fmla="*/ 166718 h 518"/>
                  <a:gd name="T38" fmla="*/ 149049 w 398"/>
                  <a:gd name="T39" fmla="*/ 175575 h 518"/>
                  <a:gd name="T40" fmla="*/ 159388 w 398"/>
                  <a:gd name="T41" fmla="*/ 177659 h 518"/>
                  <a:gd name="T42" fmla="*/ 170588 w 398"/>
                  <a:gd name="T43" fmla="*/ 190163 h 518"/>
                  <a:gd name="T44" fmla="*/ 170158 w 398"/>
                  <a:gd name="T45" fmla="*/ 205793 h 518"/>
                  <a:gd name="T46" fmla="*/ 164558 w 398"/>
                  <a:gd name="T47" fmla="*/ 210482 h 518"/>
                  <a:gd name="T48" fmla="*/ 158096 w 398"/>
                  <a:gd name="T49" fmla="*/ 216213 h 518"/>
                  <a:gd name="T50" fmla="*/ 158527 w 398"/>
                  <a:gd name="T51" fmla="*/ 221944 h 518"/>
                  <a:gd name="T52" fmla="*/ 161973 w 398"/>
                  <a:gd name="T53" fmla="*/ 230800 h 518"/>
                  <a:gd name="T54" fmla="*/ 154650 w 398"/>
                  <a:gd name="T55" fmla="*/ 241220 h 518"/>
                  <a:gd name="T56" fmla="*/ 62894 w 398"/>
                  <a:gd name="T57" fmla="*/ 260497 h 518"/>
                  <a:gd name="T58" fmla="*/ 29293 w 398"/>
                  <a:gd name="T59" fmla="*/ 264665 h 518"/>
                  <a:gd name="T60" fmla="*/ 22831 w 398"/>
                  <a:gd name="T61" fmla="*/ 269875 h 518"/>
                  <a:gd name="T62" fmla="*/ 24985 w 398"/>
                  <a:gd name="T63" fmla="*/ 256850 h 518"/>
                  <a:gd name="T64" fmla="*/ 30585 w 398"/>
                  <a:gd name="T65" fmla="*/ 247993 h 518"/>
                  <a:gd name="T66" fmla="*/ 49109 w 398"/>
                  <a:gd name="T67" fmla="*/ 238615 h 518"/>
                  <a:gd name="T68" fmla="*/ 74094 w 398"/>
                  <a:gd name="T69" fmla="*/ 228716 h 518"/>
                  <a:gd name="T70" fmla="*/ 77109 w 398"/>
                  <a:gd name="T71" fmla="*/ 221944 h 518"/>
                  <a:gd name="T72" fmla="*/ 73663 w 398"/>
                  <a:gd name="T73" fmla="*/ 226111 h 518"/>
                  <a:gd name="T74" fmla="*/ 47816 w 398"/>
                  <a:gd name="T75" fmla="*/ 225069 h 518"/>
                  <a:gd name="T76" fmla="*/ 32739 w 398"/>
                  <a:gd name="T77" fmla="*/ 218818 h 518"/>
                  <a:gd name="T78" fmla="*/ 33170 w 398"/>
                  <a:gd name="T79" fmla="*/ 209440 h 518"/>
                  <a:gd name="T80" fmla="*/ 40924 w 398"/>
                  <a:gd name="T81" fmla="*/ 203709 h 518"/>
                  <a:gd name="T82" fmla="*/ 37478 w 398"/>
                  <a:gd name="T83" fmla="*/ 183390 h 518"/>
                  <a:gd name="T84" fmla="*/ 45232 w 398"/>
                  <a:gd name="T85" fmla="*/ 171407 h 518"/>
                  <a:gd name="T86" fmla="*/ 66340 w 398"/>
                  <a:gd name="T87" fmla="*/ 160987 h 518"/>
                  <a:gd name="T88" fmla="*/ 74094 w 398"/>
                  <a:gd name="T89" fmla="*/ 151609 h 518"/>
                  <a:gd name="T90" fmla="*/ 63755 w 398"/>
                  <a:gd name="T91" fmla="*/ 141189 h 518"/>
                  <a:gd name="T92" fmla="*/ 59878 w 398"/>
                  <a:gd name="T93" fmla="*/ 128686 h 518"/>
                  <a:gd name="T94" fmla="*/ 40493 w 398"/>
                  <a:gd name="T95" fmla="*/ 124518 h 518"/>
                  <a:gd name="T96" fmla="*/ 34462 w 398"/>
                  <a:gd name="T97" fmla="*/ 112535 h 518"/>
                  <a:gd name="T98" fmla="*/ 38770 w 398"/>
                  <a:gd name="T99" fmla="*/ 100031 h 518"/>
                  <a:gd name="T100" fmla="*/ 43078 w 398"/>
                  <a:gd name="T101" fmla="*/ 87527 h 518"/>
                  <a:gd name="T102" fmla="*/ 31447 w 398"/>
                  <a:gd name="T103" fmla="*/ 96905 h 518"/>
                  <a:gd name="T104" fmla="*/ 9477 w 398"/>
                  <a:gd name="T105" fmla="*/ 84401 h 518"/>
                  <a:gd name="T106" fmla="*/ 8616 w 398"/>
                  <a:gd name="T107" fmla="*/ 73981 h 518"/>
                  <a:gd name="T108" fmla="*/ 6031 w 398"/>
                  <a:gd name="T109" fmla="*/ 68250 h 518"/>
                  <a:gd name="T110" fmla="*/ 8616 w 398"/>
                  <a:gd name="T111" fmla="*/ 32823 h 518"/>
                  <a:gd name="T112" fmla="*/ 8185 w 398"/>
                  <a:gd name="T113" fmla="*/ 25529 h 518"/>
                  <a:gd name="T114" fmla="*/ 1723 w 398"/>
                  <a:gd name="T115" fmla="*/ 20840 h 518"/>
                  <a:gd name="T116" fmla="*/ 8616 w 398"/>
                  <a:gd name="T117" fmla="*/ 9899 h 518"/>
                  <a:gd name="T118" fmla="*/ 1292 w 398"/>
                  <a:gd name="T119" fmla="*/ 4689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13">
                <a:extLst>
                  <a:ext uri="{FF2B5EF4-FFF2-40B4-BE49-F238E27FC236}">
                    <a16:creationId xmlns:a16="http://schemas.microsoft.com/office/drawing/2014/main" id="{4DDD9827-FC42-4283-AD46-BA3758804A2C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622303" y="3631834"/>
                <a:ext cx="540612" cy="198634"/>
              </a:xfrm>
              <a:custGeom>
                <a:avLst/>
                <a:gdLst>
                  <a:gd name="T0" fmla="*/ 84486 w 382"/>
                  <a:gd name="T1" fmla="*/ 10812 h 148"/>
                  <a:gd name="T2" fmla="*/ 78706 w 382"/>
                  <a:gd name="T3" fmla="*/ 15961 h 148"/>
                  <a:gd name="T4" fmla="*/ 77372 w 382"/>
                  <a:gd name="T5" fmla="*/ 23169 h 148"/>
                  <a:gd name="T6" fmla="*/ 74704 w 382"/>
                  <a:gd name="T7" fmla="*/ 27288 h 148"/>
                  <a:gd name="T8" fmla="*/ 73814 w 382"/>
                  <a:gd name="T9" fmla="*/ 31407 h 148"/>
                  <a:gd name="T10" fmla="*/ 78706 w 382"/>
                  <a:gd name="T11" fmla="*/ 38100 h 148"/>
                  <a:gd name="T12" fmla="*/ 68923 w 382"/>
                  <a:gd name="T13" fmla="*/ 44278 h 148"/>
                  <a:gd name="T14" fmla="*/ 48024 w 382"/>
                  <a:gd name="T15" fmla="*/ 49427 h 148"/>
                  <a:gd name="T16" fmla="*/ 34239 w 382"/>
                  <a:gd name="T17" fmla="*/ 49942 h 148"/>
                  <a:gd name="T18" fmla="*/ 23123 w 382"/>
                  <a:gd name="T19" fmla="*/ 48912 h 148"/>
                  <a:gd name="T20" fmla="*/ 1779 w 382"/>
                  <a:gd name="T21" fmla="*/ 57150 h 148"/>
                  <a:gd name="T22" fmla="*/ 0 w 382"/>
                  <a:gd name="T23" fmla="*/ 66418 h 148"/>
                  <a:gd name="T24" fmla="*/ 1779 w 382"/>
                  <a:gd name="T25" fmla="*/ 67447 h 148"/>
                  <a:gd name="T26" fmla="*/ 5336 w 382"/>
                  <a:gd name="T27" fmla="*/ 67447 h 148"/>
                  <a:gd name="T28" fmla="*/ 22678 w 382"/>
                  <a:gd name="T29" fmla="*/ 66418 h 148"/>
                  <a:gd name="T30" fmla="*/ 50692 w 382"/>
                  <a:gd name="T31" fmla="*/ 65388 h 148"/>
                  <a:gd name="T32" fmla="*/ 54694 w 382"/>
                  <a:gd name="T33" fmla="*/ 68992 h 148"/>
                  <a:gd name="T34" fmla="*/ 60919 w 382"/>
                  <a:gd name="T35" fmla="*/ 72596 h 148"/>
                  <a:gd name="T36" fmla="*/ 70702 w 382"/>
                  <a:gd name="T37" fmla="*/ 75685 h 148"/>
                  <a:gd name="T38" fmla="*/ 82263 w 382"/>
                  <a:gd name="T39" fmla="*/ 76200 h 148"/>
                  <a:gd name="T40" fmla="*/ 93380 w 382"/>
                  <a:gd name="T41" fmla="*/ 76200 h 148"/>
                  <a:gd name="T42" fmla="*/ 103607 w 382"/>
                  <a:gd name="T43" fmla="*/ 76200 h 148"/>
                  <a:gd name="T44" fmla="*/ 113390 w 382"/>
                  <a:gd name="T45" fmla="*/ 76200 h 148"/>
                  <a:gd name="T46" fmla="*/ 122283 w 382"/>
                  <a:gd name="T47" fmla="*/ 73626 h 148"/>
                  <a:gd name="T48" fmla="*/ 133844 w 382"/>
                  <a:gd name="T49" fmla="*/ 68992 h 148"/>
                  <a:gd name="T50" fmla="*/ 148518 w 382"/>
                  <a:gd name="T51" fmla="*/ 62299 h 148"/>
                  <a:gd name="T52" fmla="*/ 156967 w 382"/>
                  <a:gd name="T53" fmla="*/ 53031 h 148"/>
                  <a:gd name="T54" fmla="*/ 165415 w 382"/>
                  <a:gd name="T55" fmla="*/ 37070 h 148"/>
                  <a:gd name="T56" fmla="*/ 167194 w 382"/>
                  <a:gd name="T57" fmla="*/ 26773 h 148"/>
                  <a:gd name="T58" fmla="*/ 161413 w 382"/>
                  <a:gd name="T59" fmla="*/ 22654 h 148"/>
                  <a:gd name="T60" fmla="*/ 158745 w 382"/>
                  <a:gd name="T61" fmla="*/ 16476 h 148"/>
                  <a:gd name="T62" fmla="*/ 154299 w 382"/>
                  <a:gd name="T63" fmla="*/ 11327 h 148"/>
                  <a:gd name="T64" fmla="*/ 148518 w 382"/>
                  <a:gd name="T65" fmla="*/ 8753 h 148"/>
                  <a:gd name="T66" fmla="*/ 141848 w 382"/>
                  <a:gd name="T67" fmla="*/ 4119 h 148"/>
                  <a:gd name="T68" fmla="*/ 90267 w 382"/>
                  <a:gd name="T69" fmla="*/ 9268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16">
                <a:extLst>
                  <a:ext uri="{FF2B5EF4-FFF2-40B4-BE49-F238E27FC236}">
                    <a16:creationId xmlns:a16="http://schemas.microsoft.com/office/drawing/2014/main" id="{BA5647EA-16DF-49A6-A165-A3EE0FECDF6E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369680" y="3131113"/>
                <a:ext cx="581033" cy="620730"/>
              </a:xfrm>
              <a:custGeom>
                <a:avLst/>
                <a:gdLst>
                  <a:gd name="T0" fmla="*/ 177560 w 438"/>
                  <a:gd name="T1" fmla="*/ 100319 h 451"/>
                  <a:gd name="T2" fmla="*/ 170058 w 438"/>
                  <a:gd name="T3" fmla="*/ 67583 h 451"/>
                  <a:gd name="T4" fmla="*/ 161305 w 438"/>
                  <a:gd name="T5" fmla="*/ 44879 h 451"/>
                  <a:gd name="T6" fmla="*/ 152969 w 438"/>
                  <a:gd name="T7" fmla="*/ 32736 h 451"/>
                  <a:gd name="T8" fmla="*/ 148384 w 438"/>
                  <a:gd name="T9" fmla="*/ 30624 h 451"/>
                  <a:gd name="T10" fmla="*/ 139631 w 438"/>
                  <a:gd name="T11" fmla="*/ 23760 h 451"/>
                  <a:gd name="T12" fmla="*/ 130878 w 438"/>
                  <a:gd name="T13" fmla="*/ 20064 h 451"/>
                  <a:gd name="T14" fmla="*/ 122125 w 438"/>
                  <a:gd name="T15" fmla="*/ 20064 h 451"/>
                  <a:gd name="T16" fmla="*/ 115039 w 438"/>
                  <a:gd name="T17" fmla="*/ 22176 h 451"/>
                  <a:gd name="T18" fmla="*/ 104619 w 438"/>
                  <a:gd name="T19" fmla="*/ 30624 h 451"/>
                  <a:gd name="T20" fmla="*/ 97950 w 438"/>
                  <a:gd name="T21" fmla="*/ 35376 h 451"/>
                  <a:gd name="T22" fmla="*/ 90447 w 438"/>
                  <a:gd name="T23" fmla="*/ 34848 h 451"/>
                  <a:gd name="T24" fmla="*/ 72525 w 438"/>
                  <a:gd name="T25" fmla="*/ 19536 h 451"/>
                  <a:gd name="T26" fmla="*/ 47099 w 438"/>
                  <a:gd name="T27" fmla="*/ 0 h 451"/>
                  <a:gd name="T28" fmla="*/ 39597 w 438"/>
                  <a:gd name="T29" fmla="*/ 12144 h 451"/>
                  <a:gd name="T30" fmla="*/ 38763 w 438"/>
                  <a:gd name="T31" fmla="*/ 22704 h 451"/>
                  <a:gd name="T32" fmla="*/ 40847 w 438"/>
                  <a:gd name="T33" fmla="*/ 27456 h 451"/>
                  <a:gd name="T34" fmla="*/ 49600 w 438"/>
                  <a:gd name="T35" fmla="*/ 36432 h 451"/>
                  <a:gd name="T36" fmla="*/ 41264 w 438"/>
                  <a:gd name="T37" fmla="*/ 38544 h 451"/>
                  <a:gd name="T38" fmla="*/ 27509 w 438"/>
                  <a:gd name="T39" fmla="*/ 49103 h 451"/>
                  <a:gd name="T40" fmla="*/ 24175 w 438"/>
                  <a:gd name="T41" fmla="*/ 62831 h 451"/>
                  <a:gd name="T42" fmla="*/ 18756 w 438"/>
                  <a:gd name="T43" fmla="*/ 72863 h 451"/>
                  <a:gd name="T44" fmla="*/ 14588 w 438"/>
                  <a:gd name="T45" fmla="*/ 82367 h 451"/>
                  <a:gd name="T46" fmla="*/ 13755 w 438"/>
                  <a:gd name="T47" fmla="*/ 94511 h 451"/>
                  <a:gd name="T48" fmla="*/ 2918 w 438"/>
                  <a:gd name="T49" fmla="*/ 125662 h 451"/>
                  <a:gd name="T50" fmla="*/ 6252 w 438"/>
                  <a:gd name="T51" fmla="*/ 129886 h 451"/>
                  <a:gd name="T52" fmla="*/ 10837 w 438"/>
                  <a:gd name="T53" fmla="*/ 130414 h 451"/>
                  <a:gd name="T54" fmla="*/ 13755 w 438"/>
                  <a:gd name="T55" fmla="*/ 182686 h 451"/>
                  <a:gd name="T56" fmla="*/ 38763 w 438"/>
                  <a:gd name="T57" fmla="*/ 186382 h 451"/>
                  <a:gd name="T58" fmla="*/ 43348 w 438"/>
                  <a:gd name="T59" fmla="*/ 198525 h 451"/>
                  <a:gd name="T60" fmla="*/ 37096 w 438"/>
                  <a:gd name="T61" fmla="*/ 224397 h 451"/>
                  <a:gd name="T62" fmla="*/ 45432 w 438"/>
                  <a:gd name="T63" fmla="*/ 236013 h 451"/>
                  <a:gd name="T64" fmla="*/ 63355 w 438"/>
                  <a:gd name="T65" fmla="*/ 236013 h 451"/>
                  <a:gd name="T66" fmla="*/ 85446 w 438"/>
                  <a:gd name="T67" fmla="*/ 234429 h 451"/>
                  <a:gd name="T68" fmla="*/ 115039 w 438"/>
                  <a:gd name="T69" fmla="*/ 235485 h 451"/>
                  <a:gd name="T70" fmla="*/ 142965 w 438"/>
                  <a:gd name="T71" fmla="*/ 233373 h 451"/>
                  <a:gd name="T72" fmla="*/ 155053 w 438"/>
                  <a:gd name="T73" fmla="*/ 228093 h 451"/>
                  <a:gd name="T74" fmla="*/ 149634 w 438"/>
                  <a:gd name="T75" fmla="*/ 218061 h 451"/>
                  <a:gd name="T76" fmla="*/ 153802 w 438"/>
                  <a:gd name="T77" fmla="*/ 212781 h 451"/>
                  <a:gd name="T78" fmla="*/ 155053 w 438"/>
                  <a:gd name="T79" fmla="*/ 201693 h 451"/>
                  <a:gd name="T80" fmla="*/ 158387 w 438"/>
                  <a:gd name="T81" fmla="*/ 193774 h 451"/>
                  <a:gd name="T82" fmla="*/ 142965 w 438"/>
                  <a:gd name="T83" fmla="*/ 181630 h 451"/>
                  <a:gd name="T84" fmla="*/ 135463 w 438"/>
                  <a:gd name="T85" fmla="*/ 170542 h 451"/>
                  <a:gd name="T86" fmla="*/ 129627 w 438"/>
                  <a:gd name="T87" fmla="*/ 155230 h 451"/>
                  <a:gd name="T88" fmla="*/ 122542 w 438"/>
                  <a:gd name="T89" fmla="*/ 146254 h 451"/>
                  <a:gd name="T90" fmla="*/ 130878 w 438"/>
                  <a:gd name="T91" fmla="*/ 145198 h 451"/>
                  <a:gd name="T92" fmla="*/ 144216 w 438"/>
                  <a:gd name="T93" fmla="*/ 143086 h 451"/>
                  <a:gd name="T94" fmla="*/ 153802 w 438"/>
                  <a:gd name="T95" fmla="*/ 137278 h 451"/>
                  <a:gd name="T96" fmla="*/ 169641 w 438"/>
                  <a:gd name="T97" fmla="*/ 126718 h 451"/>
                  <a:gd name="T98" fmla="*/ 182562 w 438"/>
                  <a:gd name="T99" fmla="*/ 124078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23">
                <a:extLst>
                  <a:ext uri="{FF2B5EF4-FFF2-40B4-BE49-F238E27FC236}">
                    <a16:creationId xmlns:a16="http://schemas.microsoft.com/office/drawing/2014/main" id="{D50C0CB3-2831-4C7E-9229-07B6118E8972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248031" y="4041518"/>
                <a:ext cx="894284" cy="645560"/>
              </a:xfrm>
              <a:custGeom>
                <a:avLst/>
                <a:gdLst>
                  <a:gd name="T0" fmla="*/ 176323 w 647"/>
                  <a:gd name="T1" fmla="*/ 14227 h 470"/>
                  <a:gd name="T2" fmla="*/ 185877 w 647"/>
                  <a:gd name="T3" fmla="*/ 23711 h 470"/>
                  <a:gd name="T4" fmla="*/ 198906 w 647"/>
                  <a:gd name="T5" fmla="*/ 31615 h 470"/>
                  <a:gd name="T6" fmla="*/ 222358 w 647"/>
                  <a:gd name="T7" fmla="*/ 41099 h 470"/>
                  <a:gd name="T8" fmla="*/ 233649 w 647"/>
                  <a:gd name="T9" fmla="*/ 42680 h 470"/>
                  <a:gd name="T10" fmla="*/ 244072 w 647"/>
                  <a:gd name="T11" fmla="*/ 52165 h 470"/>
                  <a:gd name="T12" fmla="*/ 246244 w 647"/>
                  <a:gd name="T13" fmla="*/ 51111 h 470"/>
                  <a:gd name="T14" fmla="*/ 249718 w 647"/>
                  <a:gd name="T15" fmla="*/ 44788 h 470"/>
                  <a:gd name="T16" fmla="*/ 253192 w 647"/>
                  <a:gd name="T17" fmla="*/ 41099 h 470"/>
                  <a:gd name="T18" fmla="*/ 261878 w 647"/>
                  <a:gd name="T19" fmla="*/ 42153 h 470"/>
                  <a:gd name="T20" fmla="*/ 270998 w 647"/>
                  <a:gd name="T21" fmla="*/ 41626 h 470"/>
                  <a:gd name="T22" fmla="*/ 277947 w 647"/>
                  <a:gd name="T23" fmla="*/ 44261 h 470"/>
                  <a:gd name="T24" fmla="*/ 280553 w 647"/>
                  <a:gd name="T25" fmla="*/ 54272 h 470"/>
                  <a:gd name="T26" fmla="*/ 280553 w 647"/>
                  <a:gd name="T27" fmla="*/ 64811 h 470"/>
                  <a:gd name="T28" fmla="*/ 268393 w 647"/>
                  <a:gd name="T29" fmla="*/ 69026 h 470"/>
                  <a:gd name="T30" fmla="*/ 254495 w 647"/>
                  <a:gd name="T31" fmla="*/ 76930 h 470"/>
                  <a:gd name="T32" fmla="*/ 243204 w 647"/>
                  <a:gd name="T33" fmla="*/ 86941 h 470"/>
                  <a:gd name="T34" fmla="*/ 218883 w 647"/>
                  <a:gd name="T35" fmla="*/ 112760 h 470"/>
                  <a:gd name="T36" fmla="*/ 212369 w 647"/>
                  <a:gd name="T37" fmla="*/ 119610 h 470"/>
                  <a:gd name="T38" fmla="*/ 205854 w 647"/>
                  <a:gd name="T39" fmla="*/ 133836 h 470"/>
                  <a:gd name="T40" fmla="*/ 205420 w 647"/>
                  <a:gd name="T41" fmla="*/ 148590 h 470"/>
                  <a:gd name="T42" fmla="*/ 205420 w 647"/>
                  <a:gd name="T43" fmla="*/ 163871 h 470"/>
                  <a:gd name="T44" fmla="*/ 201077 w 647"/>
                  <a:gd name="T45" fmla="*/ 179151 h 470"/>
                  <a:gd name="T46" fmla="*/ 195431 w 647"/>
                  <a:gd name="T47" fmla="*/ 186528 h 470"/>
                  <a:gd name="T48" fmla="*/ 178494 w 647"/>
                  <a:gd name="T49" fmla="*/ 202335 h 470"/>
                  <a:gd name="T50" fmla="*/ 166334 w 647"/>
                  <a:gd name="T51" fmla="*/ 216562 h 470"/>
                  <a:gd name="T52" fmla="*/ 162425 w 647"/>
                  <a:gd name="T53" fmla="*/ 223939 h 470"/>
                  <a:gd name="T54" fmla="*/ 160254 w 647"/>
                  <a:gd name="T55" fmla="*/ 227627 h 470"/>
                  <a:gd name="T56" fmla="*/ 134631 w 647"/>
                  <a:gd name="T57" fmla="*/ 226046 h 470"/>
                  <a:gd name="T58" fmla="*/ 111613 w 647"/>
                  <a:gd name="T59" fmla="*/ 228681 h 470"/>
                  <a:gd name="T60" fmla="*/ 97281 w 647"/>
                  <a:gd name="T61" fmla="*/ 235004 h 470"/>
                  <a:gd name="T62" fmla="*/ 83818 w 647"/>
                  <a:gd name="T63" fmla="*/ 246069 h 470"/>
                  <a:gd name="T64" fmla="*/ 77738 w 647"/>
                  <a:gd name="T65" fmla="*/ 247123 h 470"/>
                  <a:gd name="T66" fmla="*/ 73395 w 647"/>
                  <a:gd name="T67" fmla="*/ 242908 h 470"/>
                  <a:gd name="T68" fmla="*/ 66447 w 647"/>
                  <a:gd name="T69" fmla="*/ 227627 h 470"/>
                  <a:gd name="T70" fmla="*/ 60801 w 647"/>
                  <a:gd name="T71" fmla="*/ 218143 h 470"/>
                  <a:gd name="T72" fmla="*/ 52984 w 647"/>
                  <a:gd name="T73" fmla="*/ 210766 h 470"/>
                  <a:gd name="T74" fmla="*/ 49509 w 647"/>
                  <a:gd name="T75" fmla="*/ 199701 h 470"/>
                  <a:gd name="T76" fmla="*/ 54721 w 647"/>
                  <a:gd name="T77" fmla="*/ 177043 h 470"/>
                  <a:gd name="T78" fmla="*/ 55155 w 647"/>
                  <a:gd name="T79" fmla="*/ 140686 h 470"/>
                  <a:gd name="T80" fmla="*/ 63841 w 647"/>
                  <a:gd name="T81" fmla="*/ 108544 h 470"/>
                  <a:gd name="T82" fmla="*/ 72961 w 647"/>
                  <a:gd name="T83" fmla="*/ 78510 h 470"/>
                  <a:gd name="T84" fmla="*/ 74698 w 647"/>
                  <a:gd name="T85" fmla="*/ 69026 h 470"/>
                  <a:gd name="T86" fmla="*/ 50378 w 647"/>
                  <a:gd name="T87" fmla="*/ 64811 h 470"/>
                  <a:gd name="T88" fmla="*/ 26926 w 647"/>
                  <a:gd name="T89" fmla="*/ 57434 h 470"/>
                  <a:gd name="T90" fmla="*/ 7383 w 647"/>
                  <a:gd name="T91" fmla="*/ 49003 h 470"/>
                  <a:gd name="T92" fmla="*/ 0 w 647"/>
                  <a:gd name="T93" fmla="*/ 20023 h 470"/>
                  <a:gd name="T94" fmla="*/ 9989 w 647"/>
                  <a:gd name="T95" fmla="*/ 17915 h 470"/>
                  <a:gd name="T96" fmla="*/ 22149 w 647"/>
                  <a:gd name="T97" fmla="*/ 10538 h 470"/>
                  <a:gd name="T98" fmla="*/ 31703 w 647"/>
                  <a:gd name="T99" fmla="*/ 2108 h 470"/>
                  <a:gd name="T100" fmla="*/ 37349 w 647"/>
                  <a:gd name="T101" fmla="*/ 0 h 470"/>
                  <a:gd name="T102" fmla="*/ 57327 w 647"/>
                  <a:gd name="T103" fmla="*/ 3688 h 470"/>
                  <a:gd name="T104" fmla="*/ 74264 w 647"/>
                  <a:gd name="T105" fmla="*/ 8958 h 470"/>
                  <a:gd name="T106" fmla="*/ 90767 w 647"/>
                  <a:gd name="T107" fmla="*/ 10538 h 470"/>
                  <a:gd name="T108" fmla="*/ 102059 w 647"/>
                  <a:gd name="T109" fmla="*/ 15281 h 470"/>
                  <a:gd name="T110" fmla="*/ 112047 w 647"/>
                  <a:gd name="T111" fmla="*/ 19496 h 470"/>
                  <a:gd name="T112" fmla="*/ 167202 w 647"/>
                  <a:gd name="T113" fmla="*/ 13700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34">
                <a:extLst>
                  <a:ext uri="{FF2B5EF4-FFF2-40B4-BE49-F238E27FC236}">
                    <a16:creationId xmlns:a16="http://schemas.microsoft.com/office/drawing/2014/main" id="{BCCE0E16-F851-4FF1-ACB6-B41AD0408E64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122496" y="3590452"/>
                <a:ext cx="399148" cy="148976"/>
              </a:xfrm>
              <a:custGeom>
                <a:avLst/>
                <a:gdLst>
                  <a:gd name="T0" fmla="*/ 54117 w 292"/>
                  <a:gd name="T1" fmla="*/ 0 h 99"/>
                  <a:gd name="T2" fmla="*/ 65713 w 292"/>
                  <a:gd name="T3" fmla="*/ 0 h 99"/>
                  <a:gd name="T4" fmla="*/ 85040 w 292"/>
                  <a:gd name="T5" fmla="*/ 577 h 99"/>
                  <a:gd name="T6" fmla="*/ 107374 w 292"/>
                  <a:gd name="T7" fmla="*/ 3464 h 99"/>
                  <a:gd name="T8" fmla="*/ 125413 w 292"/>
                  <a:gd name="T9" fmla="*/ 4041 h 99"/>
                  <a:gd name="T10" fmla="*/ 124554 w 292"/>
                  <a:gd name="T11" fmla="*/ 11545 h 99"/>
                  <a:gd name="T12" fmla="*/ 122407 w 292"/>
                  <a:gd name="T13" fmla="*/ 19050 h 99"/>
                  <a:gd name="T14" fmla="*/ 119830 w 292"/>
                  <a:gd name="T15" fmla="*/ 31750 h 99"/>
                  <a:gd name="T16" fmla="*/ 57982 w 292"/>
                  <a:gd name="T17" fmla="*/ 40409 h 99"/>
                  <a:gd name="T18" fmla="*/ 42520 w 292"/>
                  <a:gd name="T19" fmla="*/ 51377 h 99"/>
                  <a:gd name="T20" fmla="*/ 33930 w 292"/>
                  <a:gd name="T21" fmla="*/ 55418 h 99"/>
                  <a:gd name="T22" fmla="*/ 28347 w 292"/>
                  <a:gd name="T23" fmla="*/ 56573 h 99"/>
                  <a:gd name="T24" fmla="*/ 23622 w 292"/>
                  <a:gd name="T25" fmla="*/ 56573 h 99"/>
                  <a:gd name="T26" fmla="*/ 19327 w 292"/>
                  <a:gd name="T27" fmla="*/ 54264 h 99"/>
                  <a:gd name="T28" fmla="*/ 14173 w 292"/>
                  <a:gd name="T29" fmla="*/ 49645 h 99"/>
                  <a:gd name="T30" fmla="*/ 8590 w 292"/>
                  <a:gd name="T31" fmla="*/ 44450 h 99"/>
                  <a:gd name="T32" fmla="*/ 3006 w 292"/>
                  <a:gd name="T33" fmla="*/ 39832 h 99"/>
                  <a:gd name="T34" fmla="*/ 429 w 292"/>
                  <a:gd name="T35" fmla="*/ 32905 h 99"/>
                  <a:gd name="T36" fmla="*/ 0 w 292"/>
                  <a:gd name="T37" fmla="*/ 24245 h 99"/>
                  <a:gd name="T38" fmla="*/ 429 w 292"/>
                  <a:gd name="T39" fmla="*/ 14432 h 99"/>
                  <a:gd name="T40" fmla="*/ 1288 w 292"/>
                  <a:gd name="T41" fmla="*/ 11545 h 99"/>
                  <a:gd name="T42" fmla="*/ 3865 w 292"/>
                  <a:gd name="T43" fmla="*/ 10391 h 99"/>
                  <a:gd name="T44" fmla="*/ 6442 w 292"/>
                  <a:gd name="T45" fmla="*/ 12123 h 99"/>
                  <a:gd name="T46" fmla="*/ 10737 w 292"/>
                  <a:gd name="T47" fmla="*/ 16164 h 99"/>
                  <a:gd name="T48" fmla="*/ 15032 w 292"/>
                  <a:gd name="T49" fmla="*/ 18473 h 99"/>
                  <a:gd name="T50" fmla="*/ 19327 w 292"/>
                  <a:gd name="T51" fmla="*/ 19627 h 99"/>
                  <a:gd name="T52" fmla="*/ 23193 w 292"/>
                  <a:gd name="T53" fmla="*/ 19050 h 99"/>
                  <a:gd name="T54" fmla="*/ 28776 w 292"/>
                  <a:gd name="T55" fmla="*/ 16741 h 99"/>
                  <a:gd name="T56" fmla="*/ 34789 w 292"/>
                  <a:gd name="T57" fmla="*/ 10968 h 99"/>
                  <a:gd name="T58" fmla="*/ 37796 w 292"/>
                  <a:gd name="T59" fmla="*/ 6350 h 99"/>
                  <a:gd name="T60" fmla="*/ 40373 w 292"/>
                  <a:gd name="T61" fmla="*/ 3464 h 99"/>
                  <a:gd name="T62" fmla="*/ 46815 w 292"/>
                  <a:gd name="T63" fmla="*/ 577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28">
                <a:extLst>
                  <a:ext uri="{FF2B5EF4-FFF2-40B4-BE49-F238E27FC236}">
                    <a16:creationId xmlns:a16="http://schemas.microsoft.com/office/drawing/2014/main" id="{C19B172E-C558-46A5-95B0-E8A58E04D282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309437" y="4157387"/>
                <a:ext cx="156625" cy="235876"/>
              </a:xfrm>
              <a:custGeom>
                <a:avLst/>
                <a:gdLst>
                  <a:gd name="T0" fmla="*/ 49212 w 120"/>
                  <a:gd name="T1" fmla="*/ 51782 h 173"/>
                  <a:gd name="T2" fmla="*/ 37729 w 120"/>
                  <a:gd name="T3" fmla="*/ 31383 h 173"/>
                  <a:gd name="T4" fmla="*/ 28707 w 120"/>
                  <a:gd name="T5" fmla="*/ 14645 h 173"/>
                  <a:gd name="T6" fmla="*/ 24606 w 120"/>
                  <a:gd name="T7" fmla="*/ 8369 h 173"/>
                  <a:gd name="T8" fmla="*/ 21735 w 120"/>
                  <a:gd name="T9" fmla="*/ 4184 h 173"/>
                  <a:gd name="T10" fmla="*/ 19685 w 120"/>
                  <a:gd name="T11" fmla="*/ 2092 h 173"/>
                  <a:gd name="T12" fmla="*/ 18455 w 120"/>
                  <a:gd name="T13" fmla="*/ 1046 h 173"/>
                  <a:gd name="T14" fmla="*/ 17634 w 120"/>
                  <a:gd name="T15" fmla="*/ 523 h 173"/>
                  <a:gd name="T16" fmla="*/ 15994 w 120"/>
                  <a:gd name="T17" fmla="*/ 0 h 173"/>
                  <a:gd name="T18" fmla="*/ 13533 w 120"/>
                  <a:gd name="T19" fmla="*/ 0 h 173"/>
                  <a:gd name="T20" fmla="*/ 11073 w 120"/>
                  <a:gd name="T21" fmla="*/ 523 h 173"/>
                  <a:gd name="T22" fmla="*/ 9842 w 120"/>
                  <a:gd name="T23" fmla="*/ 1569 h 173"/>
                  <a:gd name="T24" fmla="*/ 8612 w 120"/>
                  <a:gd name="T25" fmla="*/ 2615 h 173"/>
                  <a:gd name="T26" fmla="*/ 7792 w 120"/>
                  <a:gd name="T27" fmla="*/ 4184 h 173"/>
                  <a:gd name="T28" fmla="*/ 6562 w 120"/>
                  <a:gd name="T29" fmla="*/ 6277 h 173"/>
                  <a:gd name="T30" fmla="*/ 6152 w 120"/>
                  <a:gd name="T31" fmla="*/ 7846 h 173"/>
                  <a:gd name="T32" fmla="*/ 6152 w 120"/>
                  <a:gd name="T33" fmla="*/ 10461 h 173"/>
                  <a:gd name="T34" fmla="*/ 5741 w 120"/>
                  <a:gd name="T35" fmla="*/ 15691 h 173"/>
                  <a:gd name="T36" fmla="*/ 4921 w 120"/>
                  <a:gd name="T37" fmla="*/ 21968 h 173"/>
                  <a:gd name="T38" fmla="*/ 4101 w 120"/>
                  <a:gd name="T39" fmla="*/ 25106 h 173"/>
                  <a:gd name="T40" fmla="*/ 3281 w 120"/>
                  <a:gd name="T41" fmla="*/ 28244 h 173"/>
                  <a:gd name="T42" fmla="*/ 1640 w 120"/>
                  <a:gd name="T43" fmla="*/ 31906 h 173"/>
                  <a:gd name="T44" fmla="*/ 0 w 120"/>
                  <a:gd name="T45" fmla="*/ 35567 h 173"/>
                  <a:gd name="T46" fmla="*/ 2051 w 120"/>
                  <a:gd name="T47" fmla="*/ 42890 h 173"/>
                  <a:gd name="T48" fmla="*/ 4101 w 120"/>
                  <a:gd name="T49" fmla="*/ 51782 h 173"/>
                  <a:gd name="T50" fmla="*/ 6152 w 120"/>
                  <a:gd name="T51" fmla="*/ 60150 h 173"/>
                  <a:gd name="T52" fmla="*/ 8202 w 120"/>
                  <a:gd name="T53" fmla="*/ 67473 h 173"/>
                  <a:gd name="T54" fmla="*/ 9842 w 120"/>
                  <a:gd name="T55" fmla="*/ 70088 h 173"/>
                  <a:gd name="T56" fmla="*/ 12303 w 120"/>
                  <a:gd name="T57" fmla="*/ 72703 h 173"/>
                  <a:gd name="T58" fmla="*/ 15174 w 120"/>
                  <a:gd name="T59" fmla="*/ 75842 h 173"/>
                  <a:gd name="T60" fmla="*/ 18865 w 120"/>
                  <a:gd name="T61" fmla="*/ 78980 h 173"/>
                  <a:gd name="T62" fmla="*/ 22145 w 120"/>
                  <a:gd name="T63" fmla="*/ 82118 h 173"/>
                  <a:gd name="T64" fmla="*/ 24606 w 120"/>
                  <a:gd name="T65" fmla="*/ 85257 h 173"/>
                  <a:gd name="T66" fmla="*/ 25426 w 120"/>
                  <a:gd name="T67" fmla="*/ 86303 h 173"/>
                  <a:gd name="T68" fmla="*/ 26657 w 120"/>
                  <a:gd name="T69" fmla="*/ 87872 h 173"/>
                  <a:gd name="T70" fmla="*/ 27067 w 120"/>
                  <a:gd name="T71" fmla="*/ 88918 h 173"/>
                  <a:gd name="T72" fmla="*/ 27477 w 120"/>
                  <a:gd name="T73" fmla="*/ 90487 h 173"/>
                  <a:gd name="T74" fmla="*/ 31168 w 120"/>
                  <a:gd name="T75" fmla="*/ 87349 h 173"/>
                  <a:gd name="T76" fmla="*/ 35269 w 120"/>
                  <a:gd name="T77" fmla="*/ 83687 h 173"/>
                  <a:gd name="T78" fmla="*/ 38139 w 120"/>
                  <a:gd name="T79" fmla="*/ 79503 h 173"/>
                  <a:gd name="T80" fmla="*/ 41420 w 120"/>
                  <a:gd name="T81" fmla="*/ 74273 h 173"/>
                  <a:gd name="T82" fmla="*/ 43471 w 120"/>
                  <a:gd name="T83" fmla="*/ 69042 h 173"/>
                  <a:gd name="T84" fmla="*/ 45931 w 120"/>
                  <a:gd name="T85" fmla="*/ 63289 h 173"/>
                  <a:gd name="T86" fmla="*/ 47572 w 120"/>
                  <a:gd name="T87" fmla="*/ 57535 h 173"/>
                  <a:gd name="T88" fmla="*/ 49212 w 120"/>
                  <a:gd name="T89" fmla="*/ 51782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29">
                <a:extLst>
                  <a:ext uri="{FF2B5EF4-FFF2-40B4-BE49-F238E27FC236}">
                    <a16:creationId xmlns:a16="http://schemas.microsoft.com/office/drawing/2014/main" id="{43FC1F4B-41FE-43DC-A23C-D1E1B732F242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379785" y="3739428"/>
                <a:ext cx="267779" cy="153114"/>
              </a:xfrm>
              <a:custGeom>
                <a:avLst/>
                <a:gdLst>
                  <a:gd name="T0" fmla="*/ 84137 w 200"/>
                  <a:gd name="T1" fmla="*/ 32965 h 98"/>
                  <a:gd name="T2" fmla="*/ 82034 w 200"/>
                  <a:gd name="T3" fmla="*/ 33565 h 98"/>
                  <a:gd name="T4" fmla="*/ 78247 w 200"/>
                  <a:gd name="T5" fmla="*/ 35962 h 98"/>
                  <a:gd name="T6" fmla="*/ 74461 w 200"/>
                  <a:gd name="T7" fmla="*/ 38959 h 98"/>
                  <a:gd name="T8" fmla="*/ 69834 w 200"/>
                  <a:gd name="T9" fmla="*/ 43754 h 98"/>
                  <a:gd name="T10" fmla="*/ 65206 w 200"/>
                  <a:gd name="T11" fmla="*/ 47949 h 98"/>
                  <a:gd name="T12" fmla="*/ 60999 w 200"/>
                  <a:gd name="T13" fmla="*/ 52145 h 98"/>
                  <a:gd name="T14" fmla="*/ 57634 w 200"/>
                  <a:gd name="T15" fmla="*/ 55741 h 98"/>
                  <a:gd name="T16" fmla="*/ 55951 w 200"/>
                  <a:gd name="T17" fmla="*/ 58738 h 98"/>
                  <a:gd name="T18" fmla="*/ 53427 w 200"/>
                  <a:gd name="T19" fmla="*/ 58738 h 98"/>
                  <a:gd name="T20" fmla="*/ 51324 w 200"/>
                  <a:gd name="T21" fmla="*/ 58738 h 98"/>
                  <a:gd name="T22" fmla="*/ 48799 w 200"/>
                  <a:gd name="T23" fmla="*/ 58139 h 98"/>
                  <a:gd name="T24" fmla="*/ 46696 w 200"/>
                  <a:gd name="T25" fmla="*/ 56940 h 98"/>
                  <a:gd name="T26" fmla="*/ 44593 w 200"/>
                  <a:gd name="T27" fmla="*/ 55741 h 98"/>
                  <a:gd name="T28" fmla="*/ 43331 w 200"/>
                  <a:gd name="T29" fmla="*/ 52744 h 98"/>
                  <a:gd name="T30" fmla="*/ 42489 w 200"/>
                  <a:gd name="T31" fmla="*/ 49148 h 98"/>
                  <a:gd name="T32" fmla="*/ 42069 w 200"/>
                  <a:gd name="T33" fmla="*/ 44353 h 98"/>
                  <a:gd name="T34" fmla="*/ 38282 w 200"/>
                  <a:gd name="T35" fmla="*/ 47949 h 98"/>
                  <a:gd name="T36" fmla="*/ 34496 w 200"/>
                  <a:gd name="T37" fmla="*/ 51546 h 98"/>
                  <a:gd name="T38" fmla="*/ 32813 w 200"/>
                  <a:gd name="T39" fmla="*/ 53943 h 98"/>
                  <a:gd name="T40" fmla="*/ 30289 w 200"/>
                  <a:gd name="T41" fmla="*/ 55741 h 98"/>
                  <a:gd name="T42" fmla="*/ 28186 w 200"/>
                  <a:gd name="T43" fmla="*/ 57539 h 98"/>
                  <a:gd name="T44" fmla="*/ 25241 w 200"/>
                  <a:gd name="T45" fmla="*/ 58738 h 98"/>
                  <a:gd name="T46" fmla="*/ 16407 w 200"/>
                  <a:gd name="T47" fmla="*/ 58738 h 98"/>
                  <a:gd name="T48" fmla="*/ 14303 w 200"/>
                  <a:gd name="T49" fmla="*/ 58738 h 98"/>
                  <a:gd name="T50" fmla="*/ 11779 w 200"/>
                  <a:gd name="T51" fmla="*/ 56940 h 98"/>
                  <a:gd name="T52" fmla="*/ 9255 w 200"/>
                  <a:gd name="T53" fmla="*/ 55142 h 98"/>
                  <a:gd name="T54" fmla="*/ 6310 w 200"/>
                  <a:gd name="T55" fmla="*/ 53344 h 98"/>
                  <a:gd name="T56" fmla="*/ 3786 w 200"/>
                  <a:gd name="T57" fmla="*/ 50946 h 98"/>
                  <a:gd name="T58" fmla="*/ 1683 w 200"/>
                  <a:gd name="T59" fmla="*/ 48549 h 98"/>
                  <a:gd name="T60" fmla="*/ 421 w 200"/>
                  <a:gd name="T61" fmla="*/ 46151 h 98"/>
                  <a:gd name="T62" fmla="*/ 0 w 200"/>
                  <a:gd name="T63" fmla="*/ 44353 h 98"/>
                  <a:gd name="T64" fmla="*/ 2103 w 200"/>
                  <a:gd name="T65" fmla="*/ 42555 h 98"/>
                  <a:gd name="T66" fmla="*/ 4207 w 200"/>
                  <a:gd name="T67" fmla="*/ 40158 h 98"/>
                  <a:gd name="T68" fmla="*/ 5890 w 200"/>
                  <a:gd name="T69" fmla="*/ 35962 h 98"/>
                  <a:gd name="T70" fmla="*/ 8414 w 200"/>
                  <a:gd name="T71" fmla="*/ 31766 h 98"/>
                  <a:gd name="T72" fmla="*/ 9676 w 200"/>
                  <a:gd name="T73" fmla="*/ 26972 h 98"/>
                  <a:gd name="T74" fmla="*/ 11358 w 200"/>
                  <a:gd name="T75" fmla="*/ 22177 h 98"/>
                  <a:gd name="T76" fmla="*/ 12621 w 200"/>
                  <a:gd name="T77" fmla="*/ 16782 h 98"/>
                  <a:gd name="T78" fmla="*/ 13883 w 200"/>
                  <a:gd name="T79" fmla="*/ 11388 h 98"/>
                  <a:gd name="T80" fmla="*/ 27765 w 200"/>
                  <a:gd name="T81" fmla="*/ 8391 h 98"/>
                  <a:gd name="T82" fmla="*/ 43331 w 200"/>
                  <a:gd name="T83" fmla="*/ 5394 h 98"/>
                  <a:gd name="T84" fmla="*/ 60999 w 200"/>
                  <a:gd name="T85" fmla="*/ 2397 h 98"/>
                  <a:gd name="T86" fmla="*/ 81192 w 200"/>
                  <a:gd name="T87" fmla="*/ 0 h 98"/>
                  <a:gd name="T88" fmla="*/ 69834 w 200"/>
                  <a:gd name="T89" fmla="*/ 18580 h 98"/>
                  <a:gd name="T90" fmla="*/ 69834 w 200"/>
                  <a:gd name="T91" fmla="*/ 20378 h 98"/>
                  <a:gd name="T92" fmla="*/ 68992 w 200"/>
                  <a:gd name="T93" fmla="*/ 22177 h 98"/>
                  <a:gd name="T94" fmla="*/ 68151 w 200"/>
                  <a:gd name="T95" fmla="*/ 23375 h 98"/>
                  <a:gd name="T96" fmla="*/ 67730 w 200"/>
                  <a:gd name="T97" fmla="*/ 24574 h 98"/>
                  <a:gd name="T98" fmla="*/ 66048 w 200"/>
                  <a:gd name="T99" fmla="*/ 26972 h 98"/>
                  <a:gd name="T100" fmla="*/ 65627 w 200"/>
                  <a:gd name="T101" fmla="*/ 28170 h 98"/>
                  <a:gd name="T102" fmla="*/ 65627 w 200"/>
                  <a:gd name="T103" fmla="*/ 29369 h 98"/>
                  <a:gd name="T104" fmla="*/ 66048 w 200"/>
                  <a:gd name="T105" fmla="*/ 29968 h 98"/>
                  <a:gd name="T106" fmla="*/ 66889 w 200"/>
                  <a:gd name="T107" fmla="*/ 29968 h 98"/>
                  <a:gd name="T108" fmla="*/ 68572 w 200"/>
                  <a:gd name="T109" fmla="*/ 30568 h 98"/>
                  <a:gd name="T110" fmla="*/ 74461 w 200"/>
                  <a:gd name="T111" fmla="*/ 31766 h 98"/>
                  <a:gd name="T112" fmla="*/ 84137 w 200"/>
                  <a:gd name="T113" fmla="*/ 32965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Freeform 230">
                <a:extLst>
                  <a:ext uri="{FF2B5EF4-FFF2-40B4-BE49-F238E27FC236}">
                    <a16:creationId xmlns:a16="http://schemas.microsoft.com/office/drawing/2014/main" id="{78F9120F-6D59-444F-931B-8A55DEF5FA4E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3182737" y="3267672"/>
                <a:ext cx="267781" cy="190358"/>
              </a:xfrm>
              <a:custGeom>
                <a:avLst/>
                <a:gdLst>
                  <a:gd name="T0" fmla="*/ 0 w 186"/>
                  <a:gd name="T1" fmla="*/ 57597 h 142"/>
                  <a:gd name="T2" fmla="*/ 905 w 186"/>
                  <a:gd name="T3" fmla="*/ 59654 h 142"/>
                  <a:gd name="T4" fmla="*/ 1357 w 186"/>
                  <a:gd name="T5" fmla="*/ 55026 h 142"/>
                  <a:gd name="T6" fmla="*/ 1357 w 186"/>
                  <a:gd name="T7" fmla="*/ 47826 h 142"/>
                  <a:gd name="T8" fmla="*/ 4071 w 186"/>
                  <a:gd name="T9" fmla="*/ 42169 h 142"/>
                  <a:gd name="T10" fmla="*/ 7690 w 186"/>
                  <a:gd name="T11" fmla="*/ 35484 h 142"/>
                  <a:gd name="T12" fmla="*/ 9047 w 186"/>
                  <a:gd name="T13" fmla="*/ 28799 h 142"/>
                  <a:gd name="T14" fmla="*/ 10404 w 186"/>
                  <a:gd name="T15" fmla="*/ 23656 h 142"/>
                  <a:gd name="T16" fmla="*/ 12666 w 186"/>
                  <a:gd name="T17" fmla="*/ 19028 h 142"/>
                  <a:gd name="T18" fmla="*/ 15832 w 186"/>
                  <a:gd name="T19" fmla="*/ 16456 h 142"/>
                  <a:gd name="T20" fmla="*/ 18547 w 186"/>
                  <a:gd name="T21" fmla="*/ 19542 h 142"/>
                  <a:gd name="T22" fmla="*/ 19451 w 186"/>
                  <a:gd name="T23" fmla="*/ 25199 h 142"/>
                  <a:gd name="T24" fmla="*/ 21261 w 186"/>
                  <a:gd name="T25" fmla="*/ 29827 h 142"/>
                  <a:gd name="T26" fmla="*/ 24880 w 186"/>
                  <a:gd name="T27" fmla="*/ 33427 h 142"/>
                  <a:gd name="T28" fmla="*/ 39355 w 186"/>
                  <a:gd name="T29" fmla="*/ 34455 h 142"/>
                  <a:gd name="T30" fmla="*/ 35736 w 186"/>
                  <a:gd name="T31" fmla="*/ 21085 h 142"/>
                  <a:gd name="T32" fmla="*/ 31212 w 186"/>
                  <a:gd name="T33" fmla="*/ 18513 h 142"/>
                  <a:gd name="T34" fmla="*/ 28498 w 186"/>
                  <a:gd name="T35" fmla="*/ 15428 h 142"/>
                  <a:gd name="T36" fmla="*/ 27594 w 186"/>
                  <a:gd name="T37" fmla="*/ 11828 h 142"/>
                  <a:gd name="T38" fmla="*/ 31665 w 186"/>
                  <a:gd name="T39" fmla="*/ 8742 h 142"/>
                  <a:gd name="T40" fmla="*/ 39355 w 186"/>
                  <a:gd name="T41" fmla="*/ 7200 h 142"/>
                  <a:gd name="T42" fmla="*/ 44331 w 186"/>
                  <a:gd name="T43" fmla="*/ 5143 h 142"/>
                  <a:gd name="T44" fmla="*/ 50211 w 186"/>
                  <a:gd name="T45" fmla="*/ 3086 h 142"/>
                  <a:gd name="T46" fmla="*/ 58806 w 186"/>
                  <a:gd name="T47" fmla="*/ 1543 h 142"/>
                  <a:gd name="T48" fmla="*/ 66496 w 186"/>
                  <a:gd name="T49" fmla="*/ 514 h 142"/>
                  <a:gd name="T50" fmla="*/ 71924 w 186"/>
                  <a:gd name="T51" fmla="*/ 1029 h 142"/>
                  <a:gd name="T52" fmla="*/ 79614 w 186"/>
                  <a:gd name="T53" fmla="*/ 514 h 142"/>
                  <a:gd name="T54" fmla="*/ 82781 w 186"/>
                  <a:gd name="T55" fmla="*/ 5143 h 142"/>
                  <a:gd name="T56" fmla="*/ 80519 w 186"/>
                  <a:gd name="T57" fmla="*/ 13371 h 142"/>
                  <a:gd name="T58" fmla="*/ 76448 w 186"/>
                  <a:gd name="T59" fmla="*/ 20570 h 142"/>
                  <a:gd name="T60" fmla="*/ 71924 w 186"/>
                  <a:gd name="T61" fmla="*/ 26227 h 142"/>
                  <a:gd name="T62" fmla="*/ 70115 w 186"/>
                  <a:gd name="T63" fmla="*/ 32398 h 142"/>
                  <a:gd name="T64" fmla="*/ 69210 w 186"/>
                  <a:gd name="T65" fmla="*/ 39084 h 142"/>
                  <a:gd name="T66" fmla="*/ 54283 w 186"/>
                  <a:gd name="T67" fmla="*/ 73025 h 142"/>
                  <a:gd name="T68" fmla="*/ 36188 w 186"/>
                  <a:gd name="T69" fmla="*/ 62740 h 142"/>
                  <a:gd name="T70" fmla="*/ 15832 w 186"/>
                  <a:gd name="T71" fmla="*/ 60168 h 142"/>
                  <a:gd name="T72" fmla="*/ 3619 w 186"/>
                  <a:gd name="T73" fmla="*/ 58111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31">
                <a:extLst>
                  <a:ext uri="{FF2B5EF4-FFF2-40B4-BE49-F238E27FC236}">
                    <a16:creationId xmlns:a16="http://schemas.microsoft.com/office/drawing/2014/main" id="{4E68A048-927A-4F51-9616-B98F20407B9C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3122106" y="3433201"/>
                <a:ext cx="267781" cy="148976"/>
              </a:xfrm>
              <a:custGeom>
                <a:avLst/>
                <a:gdLst>
                  <a:gd name="T0" fmla="*/ 84138 w 192"/>
                  <a:gd name="T1" fmla="*/ 33201 h 105"/>
                  <a:gd name="T2" fmla="*/ 82823 w 192"/>
                  <a:gd name="T3" fmla="*/ 33746 h 105"/>
                  <a:gd name="T4" fmla="*/ 80632 w 192"/>
                  <a:gd name="T5" fmla="*/ 34290 h 105"/>
                  <a:gd name="T6" fmla="*/ 78879 w 192"/>
                  <a:gd name="T7" fmla="*/ 34834 h 105"/>
                  <a:gd name="T8" fmla="*/ 77565 w 192"/>
                  <a:gd name="T9" fmla="*/ 36467 h 105"/>
                  <a:gd name="T10" fmla="*/ 73621 w 192"/>
                  <a:gd name="T11" fmla="*/ 39189 h 105"/>
                  <a:gd name="T12" fmla="*/ 70115 w 192"/>
                  <a:gd name="T13" fmla="*/ 42999 h 105"/>
                  <a:gd name="T14" fmla="*/ 67486 w 192"/>
                  <a:gd name="T15" fmla="*/ 46809 h 105"/>
                  <a:gd name="T16" fmla="*/ 64418 w 192"/>
                  <a:gd name="T17" fmla="*/ 50619 h 105"/>
                  <a:gd name="T18" fmla="*/ 62665 w 192"/>
                  <a:gd name="T19" fmla="*/ 53884 h 105"/>
                  <a:gd name="T20" fmla="*/ 60912 w 192"/>
                  <a:gd name="T21" fmla="*/ 57150 h 105"/>
                  <a:gd name="T22" fmla="*/ 52586 w 192"/>
                  <a:gd name="T23" fmla="*/ 52796 h 105"/>
                  <a:gd name="T24" fmla="*/ 44698 w 192"/>
                  <a:gd name="T25" fmla="*/ 48441 h 105"/>
                  <a:gd name="T26" fmla="*/ 37687 w 192"/>
                  <a:gd name="T27" fmla="*/ 43543 h 105"/>
                  <a:gd name="T28" fmla="*/ 30237 w 192"/>
                  <a:gd name="T29" fmla="*/ 38644 h 105"/>
                  <a:gd name="T30" fmla="*/ 23226 w 192"/>
                  <a:gd name="T31" fmla="*/ 33201 h 105"/>
                  <a:gd name="T32" fmla="*/ 15776 w 192"/>
                  <a:gd name="T33" fmla="*/ 28847 h 105"/>
                  <a:gd name="T34" fmla="*/ 8326 w 192"/>
                  <a:gd name="T35" fmla="*/ 23949 h 105"/>
                  <a:gd name="T36" fmla="*/ 0 w 192"/>
                  <a:gd name="T37" fmla="*/ 20139 h 105"/>
                  <a:gd name="T38" fmla="*/ 0 w 192"/>
                  <a:gd name="T39" fmla="*/ 7076 h 105"/>
                  <a:gd name="T40" fmla="*/ 3068 w 192"/>
                  <a:gd name="T41" fmla="*/ 3810 h 105"/>
                  <a:gd name="T42" fmla="*/ 7012 w 192"/>
                  <a:gd name="T43" fmla="*/ 2177 h 105"/>
                  <a:gd name="T44" fmla="*/ 12708 w 192"/>
                  <a:gd name="T45" fmla="*/ 544 h 105"/>
                  <a:gd name="T46" fmla="*/ 17529 w 192"/>
                  <a:gd name="T47" fmla="*/ 0 h 105"/>
                  <a:gd name="T48" fmla="*/ 26293 w 192"/>
                  <a:gd name="T49" fmla="*/ 1089 h 105"/>
                  <a:gd name="T50" fmla="*/ 40754 w 192"/>
                  <a:gd name="T51" fmla="*/ 2721 h 105"/>
                  <a:gd name="T52" fmla="*/ 48642 w 192"/>
                  <a:gd name="T53" fmla="*/ 3810 h 105"/>
                  <a:gd name="T54" fmla="*/ 56092 w 192"/>
                  <a:gd name="T55" fmla="*/ 3810 h 105"/>
                  <a:gd name="T56" fmla="*/ 62665 w 192"/>
                  <a:gd name="T57" fmla="*/ 3810 h 105"/>
                  <a:gd name="T58" fmla="*/ 67047 w 192"/>
                  <a:gd name="T59" fmla="*/ 3266 h 105"/>
                  <a:gd name="T60" fmla="*/ 67924 w 192"/>
                  <a:gd name="T61" fmla="*/ 5987 h 105"/>
                  <a:gd name="T62" fmla="*/ 69677 w 192"/>
                  <a:gd name="T63" fmla="*/ 9253 h 105"/>
                  <a:gd name="T64" fmla="*/ 70553 w 192"/>
                  <a:gd name="T65" fmla="*/ 10886 h 105"/>
                  <a:gd name="T66" fmla="*/ 71868 w 192"/>
                  <a:gd name="T67" fmla="*/ 12519 h 105"/>
                  <a:gd name="T68" fmla="*/ 72306 w 192"/>
                  <a:gd name="T69" fmla="*/ 14696 h 105"/>
                  <a:gd name="T70" fmla="*/ 72744 w 192"/>
                  <a:gd name="T71" fmla="*/ 16873 h 105"/>
                  <a:gd name="T72" fmla="*/ 74497 w 192"/>
                  <a:gd name="T73" fmla="*/ 17417 h 105"/>
                  <a:gd name="T74" fmla="*/ 77565 w 192"/>
                  <a:gd name="T75" fmla="*/ 17961 h 105"/>
                  <a:gd name="T76" fmla="*/ 78879 w 192"/>
                  <a:gd name="T77" fmla="*/ 18506 h 105"/>
                  <a:gd name="T78" fmla="*/ 80194 w 192"/>
                  <a:gd name="T79" fmla="*/ 18506 h 105"/>
                  <a:gd name="T80" fmla="*/ 82385 w 192"/>
                  <a:gd name="T81" fmla="*/ 17961 h 105"/>
                  <a:gd name="T82" fmla="*/ 84138 w 192"/>
                  <a:gd name="T83" fmla="*/ 16873 h 105"/>
                  <a:gd name="T84" fmla="*/ 84138 w 192"/>
                  <a:gd name="T85" fmla="*/ 33201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34">
                <a:extLst>
                  <a:ext uri="{FF2B5EF4-FFF2-40B4-BE49-F238E27FC236}">
                    <a16:creationId xmlns:a16="http://schemas.microsoft.com/office/drawing/2014/main" id="{21F9F6EC-BD90-4091-9884-AA7CEF141E4E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202559" y="3069039"/>
                <a:ext cx="308203" cy="376577"/>
              </a:xfrm>
              <a:custGeom>
                <a:avLst/>
                <a:gdLst>
                  <a:gd name="T0" fmla="*/ 79622 w 225"/>
                  <a:gd name="T1" fmla="*/ 35454 h 273"/>
                  <a:gd name="T2" fmla="*/ 74458 w 225"/>
                  <a:gd name="T3" fmla="*/ 41275 h 273"/>
                  <a:gd name="T4" fmla="*/ 68432 w 225"/>
                  <a:gd name="T5" fmla="*/ 43392 h 273"/>
                  <a:gd name="T6" fmla="*/ 70154 w 225"/>
                  <a:gd name="T7" fmla="*/ 49213 h 273"/>
                  <a:gd name="T8" fmla="*/ 74888 w 225"/>
                  <a:gd name="T9" fmla="*/ 53446 h 273"/>
                  <a:gd name="T10" fmla="*/ 83926 w 225"/>
                  <a:gd name="T11" fmla="*/ 55563 h 273"/>
                  <a:gd name="T12" fmla="*/ 96838 w 225"/>
                  <a:gd name="T13" fmla="*/ 56092 h 273"/>
                  <a:gd name="T14" fmla="*/ 96838 w 225"/>
                  <a:gd name="T15" fmla="*/ 80434 h 273"/>
                  <a:gd name="T16" fmla="*/ 96408 w 225"/>
                  <a:gd name="T17" fmla="*/ 93134 h 273"/>
                  <a:gd name="T18" fmla="*/ 92534 w 225"/>
                  <a:gd name="T19" fmla="*/ 98955 h 273"/>
                  <a:gd name="T20" fmla="*/ 84787 w 225"/>
                  <a:gd name="T21" fmla="*/ 108480 h 273"/>
                  <a:gd name="T22" fmla="*/ 82635 w 225"/>
                  <a:gd name="T23" fmla="*/ 113242 h 273"/>
                  <a:gd name="T24" fmla="*/ 77040 w 225"/>
                  <a:gd name="T25" fmla="*/ 115359 h 273"/>
                  <a:gd name="T26" fmla="*/ 70584 w 225"/>
                  <a:gd name="T27" fmla="*/ 119063 h 273"/>
                  <a:gd name="T28" fmla="*/ 68432 w 225"/>
                  <a:gd name="T29" fmla="*/ 124884 h 273"/>
                  <a:gd name="T30" fmla="*/ 60255 w 225"/>
                  <a:gd name="T31" fmla="*/ 128059 h 273"/>
                  <a:gd name="T32" fmla="*/ 55090 w 225"/>
                  <a:gd name="T33" fmla="*/ 133350 h 273"/>
                  <a:gd name="T34" fmla="*/ 43470 w 225"/>
                  <a:gd name="T35" fmla="*/ 134938 h 273"/>
                  <a:gd name="T36" fmla="*/ 25823 w 225"/>
                  <a:gd name="T37" fmla="*/ 138113 h 273"/>
                  <a:gd name="T38" fmla="*/ 8177 w 225"/>
                  <a:gd name="T39" fmla="*/ 138113 h 273"/>
                  <a:gd name="T40" fmla="*/ 0 w 225"/>
                  <a:gd name="T41" fmla="*/ 114830 h 273"/>
                  <a:gd name="T42" fmla="*/ 9038 w 225"/>
                  <a:gd name="T43" fmla="*/ 112184 h 273"/>
                  <a:gd name="T44" fmla="*/ 11190 w 225"/>
                  <a:gd name="T45" fmla="*/ 108480 h 273"/>
                  <a:gd name="T46" fmla="*/ 25823 w 225"/>
                  <a:gd name="T47" fmla="*/ 106892 h 273"/>
                  <a:gd name="T48" fmla="*/ 30988 w 225"/>
                  <a:gd name="T49" fmla="*/ 102130 h 273"/>
                  <a:gd name="T50" fmla="*/ 20659 w 225"/>
                  <a:gd name="T51" fmla="*/ 104775 h 273"/>
                  <a:gd name="T52" fmla="*/ 17216 w 225"/>
                  <a:gd name="T53" fmla="*/ 104246 h 273"/>
                  <a:gd name="T54" fmla="*/ 16785 w 225"/>
                  <a:gd name="T55" fmla="*/ 99484 h 273"/>
                  <a:gd name="T56" fmla="*/ 19798 w 225"/>
                  <a:gd name="T57" fmla="*/ 91546 h 273"/>
                  <a:gd name="T58" fmla="*/ 16785 w 225"/>
                  <a:gd name="T59" fmla="*/ 84667 h 273"/>
                  <a:gd name="T60" fmla="*/ 6025 w 225"/>
                  <a:gd name="T61" fmla="*/ 79375 h 273"/>
                  <a:gd name="T62" fmla="*/ 2582 w 225"/>
                  <a:gd name="T63" fmla="*/ 68792 h 273"/>
                  <a:gd name="T64" fmla="*/ 9469 w 225"/>
                  <a:gd name="T65" fmla="*/ 60854 h 273"/>
                  <a:gd name="T66" fmla="*/ 15064 w 225"/>
                  <a:gd name="T67" fmla="*/ 53975 h 273"/>
                  <a:gd name="T68" fmla="*/ 29267 w 225"/>
                  <a:gd name="T69" fmla="*/ 49742 h 273"/>
                  <a:gd name="T70" fmla="*/ 38735 w 225"/>
                  <a:gd name="T71" fmla="*/ 49742 h 273"/>
                  <a:gd name="T72" fmla="*/ 43039 w 225"/>
                  <a:gd name="T73" fmla="*/ 46567 h 273"/>
                  <a:gd name="T74" fmla="*/ 46482 w 225"/>
                  <a:gd name="T75" fmla="*/ 27517 h 273"/>
                  <a:gd name="T76" fmla="*/ 51647 w 225"/>
                  <a:gd name="T77" fmla="*/ 16404 h 273"/>
                  <a:gd name="T78" fmla="*/ 55951 w 225"/>
                  <a:gd name="T79" fmla="*/ 10583 h 273"/>
                  <a:gd name="T80" fmla="*/ 60685 w 225"/>
                  <a:gd name="T81" fmla="*/ 3704 h 273"/>
                  <a:gd name="T82" fmla="*/ 66711 w 225"/>
                  <a:gd name="T83" fmla="*/ 529 h 273"/>
                  <a:gd name="T84" fmla="*/ 77040 w 225"/>
                  <a:gd name="T85" fmla="*/ 1588 h 273"/>
                  <a:gd name="T86" fmla="*/ 83926 w 225"/>
                  <a:gd name="T87" fmla="*/ 20108 h 273"/>
                  <a:gd name="T88" fmla="*/ 84357 w 225"/>
                  <a:gd name="T89" fmla="*/ 24871 h 273"/>
                  <a:gd name="T90" fmla="*/ 81774 w 225"/>
                  <a:gd name="T91" fmla="*/ 29633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Freeform 242">
                <a:extLst>
                  <a:ext uri="{FF2B5EF4-FFF2-40B4-BE49-F238E27FC236}">
                    <a16:creationId xmlns:a16="http://schemas.microsoft.com/office/drawing/2014/main" id="{A6E5F89A-3D00-4C8F-BC93-F9A6F832AA5D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3981025" y="2965585"/>
                <a:ext cx="45475" cy="148976"/>
              </a:xfrm>
              <a:custGeom>
                <a:avLst/>
                <a:gdLst>
                  <a:gd name="T0" fmla="*/ 0 w 28"/>
                  <a:gd name="T1" fmla="*/ 57150 h 73"/>
                  <a:gd name="T2" fmla="*/ 1021 w 28"/>
                  <a:gd name="T3" fmla="*/ 36795 h 73"/>
                  <a:gd name="T4" fmla="*/ 3062 w 28"/>
                  <a:gd name="T5" fmla="*/ 21921 h 73"/>
                  <a:gd name="T6" fmla="*/ 3572 w 28"/>
                  <a:gd name="T7" fmla="*/ 15658 h 73"/>
                  <a:gd name="T8" fmla="*/ 3062 w 28"/>
                  <a:gd name="T9" fmla="*/ 10177 h 73"/>
                  <a:gd name="T10" fmla="*/ 2041 w 28"/>
                  <a:gd name="T11" fmla="*/ 5480 h 73"/>
                  <a:gd name="T12" fmla="*/ 0 w 28"/>
                  <a:gd name="T13" fmla="*/ 0 h 73"/>
                  <a:gd name="T14" fmla="*/ 14288 w 28"/>
                  <a:gd name="T15" fmla="*/ 0 h 73"/>
                  <a:gd name="T16" fmla="*/ 11226 w 28"/>
                  <a:gd name="T17" fmla="*/ 12526 h 73"/>
                  <a:gd name="T18" fmla="*/ 8675 w 28"/>
                  <a:gd name="T19" fmla="*/ 23486 h 73"/>
                  <a:gd name="T20" fmla="*/ 6123 w 28"/>
                  <a:gd name="T21" fmla="*/ 33664 h 73"/>
                  <a:gd name="T22" fmla="*/ 3572 w 28"/>
                  <a:gd name="T23" fmla="*/ 43058 h 73"/>
                  <a:gd name="T24" fmla="*/ 0 w 28"/>
                  <a:gd name="T25" fmla="*/ 57150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Freeform 244">
                <a:extLst>
                  <a:ext uri="{FF2B5EF4-FFF2-40B4-BE49-F238E27FC236}">
                    <a16:creationId xmlns:a16="http://schemas.microsoft.com/office/drawing/2014/main" id="{1A65CC2A-F525-4469-8C5A-21917CF41E55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061865" y="2907650"/>
                <a:ext cx="85894" cy="148976"/>
              </a:xfrm>
              <a:custGeom>
                <a:avLst/>
                <a:gdLst>
                  <a:gd name="T0" fmla="*/ 0 w 60"/>
                  <a:gd name="T1" fmla="*/ 41462 h 51"/>
                  <a:gd name="T2" fmla="*/ 2699 w 60"/>
                  <a:gd name="T3" fmla="*/ 33618 h 51"/>
                  <a:gd name="T4" fmla="*/ 6747 w 60"/>
                  <a:gd name="T5" fmla="*/ 21291 h 51"/>
                  <a:gd name="T6" fmla="*/ 8996 w 60"/>
                  <a:gd name="T7" fmla="*/ 14568 h 51"/>
                  <a:gd name="T8" fmla="*/ 12145 w 60"/>
                  <a:gd name="T9" fmla="*/ 8965 h 51"/>
                  <a:gd name="T10" fmla="*/ 14843 w 60"/>
                  <a:gd name="T11" fmla="*/ 4482 h 51"/>
                  <a:gd name="T12" fmla="*/ 17992 w 60"/>
                  <a:gd name="T13" fmla="*/ 0 h 51"/>
                  <a:gd name="T14" fmla="*/ 22490 w 60"/>
                  <a:gd name="T15" fmla="*/ 7844 h 51"/>
                  <a:gd name="T16" fmla="*/ 26988 w 60"/>
                  <a:gd name="T17" fmla="*/ 14568 h 51"/>
                  <a:gd name="T18" fmla="*/ 26538 w 60"/>
                  <a:gd name="T19" fmla="*/ 22412 h 51"/>
                  <a:gd name="T20" fmla="*/ 25189 w 60"/>
                  <a:gd name="T21" fmla="*/ 32497 h 51"/>
                  <a:gd name="T22" fmla="*/ 24289 w 60"/>
                  <a:gd name="T23" fmla="*/ 38100 h 51"/>
                  <a:gd name="T24" fmla="*/ 23390 w 60"/>
                  <a:gd name="T25" fmla="*/ 42582 h 51"/>
                  <a:gd name="T26" fmla="*/ 22040 w 60"/>
                  <a:gd name="T27" fmla="*/ 47065 h 51"/>
                  <a:gd name="T28" fmla="*/ 20241 w 60"/>
                  <a:gd name="T29" fmla="*/ 50426 h 51"/>
                  <a:gd name="T30" fmla="*/ 18442 w 60"/>
                  <a:gd name="T31" fmla="*/ 53788 h 51"/>
                  <a:gd name="T32" fmla="*/ 16643 w 60"/>
                  <a:gd name="T33" fmla="*/ 56029 h 51"/>
                  <a:gd name="T34" fmla="*/ 13944 w 60"/>
                  <a:gd name="T35" fmla="*/ 57150 h 51"/>
                  <a:gd name="T36" fmla="*/ 12145 w 60"/>
                  <a:gd name="T37" fmla="*/ 57150 h 51"/>
                  <a:gd name="T38" fmla="*/ 8996 w 60"/>
                  <a:gd name="T39" fmla="*/ 56029 h 51"/>
                  <a:gd name="T40" fmla="*/ 6747 w 60"/>
                  <a:gd name="T41" fmla="*/ 52668 h 51"/>
                  <a:gd name="T42" fmla="*/ 3149 w 60"/>
                  <a:gd name="T43" fmla="*/ 48185 h 51"/>
                  <a:gd name="T44" fmla="*/ 0 w 60"/>
                  <a:gd name="T45" fmla="*/ 41462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245">
                <a:extLst>
                  <a:ext uri="{FF2B5EF4-FFF2-40B4-BE49-F238E27FC236}">
                    <a16:creationId xmlns:a16="http://schemas.microsoft.com/office/drawing/2014/main" id="{17CDD308-0F4A-4532-86EC-7DF383435F1D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293502" y="3329747"/>
                <a:ext cx="90945" cy="148976"/>
              </a:xfrm>
              <a:custGeom>
                <a:avLst/>
                <a:gdLst>
                  <a:gd name="T0" fmla="*/ 25544 w 66"/>
                  <a:gd name="T1" fmla="*/ 53788 h 51"/>
                  <a:gd name="T2" fmla="*/ 18184 w 66"/>
                  <a:gd name="T3" fmla="*/ 56029 h 51"/>
                  <a:gd name="T4" fmla="*/ 9525 w 66"/>
                  <a:gd name="T5" fmla="*/ 57150 h 51"/>
                  <a:gd name="T6" fmla="*/ 7360 w 66"/>
                  <a:gd name="T7" fmla="*/ 56029 h 51"/>
                  <a:gd name="T8" fmla="*/ 5628 w 66"/>
                  <a:gd name="T9" fmla="*/ 54909 h 51"/>
                  <a:gd name="T10" fmla="*/ 4330 w 66"/>
                  <a:gd name="T11" fmla="*/ 53788 h 51"/>
                  <a:gd name="T12" fmla="*/ 3031 w 66"/>
                  <a:gd name="T13" fmla="*/ 51547 h 51"/>
                  <a:gd name="T14" fmla="*/ 1299 w 66"/>
                  <a:gd name="T15" fmla="*/ 48185 h 51"/>
                  <a:gd name="T16" fmla="*/ 433 w 66"/>
                  <a:gd name="T17" fmla="*/ 44824 h 51"/>
                  <a:gd name="T18" fmla="*/ 0 w 66"/>
                  <a:gd name="T19" fmla="*/ 39221 h 51"/>
                  <a:gd name="T20" fmla="*/ 0 w 66"/>
                  <a:gd name="T21" fmla="*/ 33618 h 51"/>
                  <a:gd name="T22" fmla="*/ 1732 w 66"/>
                  <a:gd name="T23" fmla="*/ 32497 h 51"/>
                  <a:gd name="T24" fmla="*/ 4330 w 66"/>
                  <a:gd name="T25" fmla="*/ 30256 h 51"/>
                  <a:gd name="T26" fmla="*/ 6061 w 66"/>
                  <a:gd name="T27" fmla="*/ 26894 h 51"/>
                  <a:gd name="T28" fmla="*/ 8226 w 66"/>
                  <a:gd name="T29" fmla="*/ 22412 h 51"/>
                  <a:gd name="T30" fmla="*/ 11257 w 66"/>
                  <a:gd name="T31" fmla="*/ 11206 h 51"/>
                  <a:gd name="T32" fmla="*/ 14288 w 66"/>
                  <a:gd name="T33" fmla="*/ 0 h 51"/>
                  <a:gd name="T34" fmla="*/ 19916 w 66"/>
                  <a:gd name="T35" fmla="*/ 1121 h 51"/>
                  <a:gd name="T36" fmla="*/ 22514 w 66"/>
                  <a:gd name="T37" fmla="*/ 2241 h 51"/>
                  <a:gd name="T38" fmla="*/ 24245 w 66"/>
                  <a:gd name="T39" fmla="*/ 3362 h 51"/>
                  <a:gd name="T40" fmla="*/ 28575 w 66"/>
                  <a:gd name="T41" fmla="*/ 0 h 51"/>
                  <a:gd name="T42" fmla="*/ 28142 w 66"/>
                  <a:gd name="T43" fmla="*/ 14568 h 51"/>
                  <a:gd name="T44" fmla="*/ 27276 w 66"/>
                  <a:gd name="T45" fmla="*/ 26894 h 51"/>
                  <a:gd name="T46" fmla="*/ 25977 w 66"/>
                  <a:gd name="T47" fmla="*/ 40341 h 51"/>
                  <a:gd name="T48" fmla="*/ 25544 w 66"/>
                  <a:gd name="T49" fmla="*/ 53788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343">
                <a:extLst>
                  <a:ext uri="{FF2B5EF4-FFF2-40B4-BE49-F238E27FC236}">
                    <a16:creationId xmlns:a16="http://schemas.microsoft.com/office/drawing/2014/main" id="{9B0B0E23-C186-4481-B0A4-7F53EBFEF4DF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082075" y="3681492"/>
                <a:ext cx="464827" cy="186221"/>
              </a:xfrm>
              <a:custGeom>
                <a:avLst/>
                <a:gdLst>
                  <a:gd name="T0" fmla="*/ 134815 w 338"/>
                  <a:gd name="T1" fmla="*/ 0 h 141"/>
                  <a:gd name="T2" fmla="*/ 80371 w 338"/>
                  <a:gd name="T3" fmla="*/ 0 h 141"/>
                  <a:gd name="T4" fmla="*/ 72593 w 338"/>
                  <a:gd name="T5" fmla="*/ 4053 h 141"/>
                  <a:gd name="T6" fmla="*/ 62222 w 338"/>
                  <a:gd name="T7" fmla="*/ 10640 h 141"/>
                  <a:gd name="T8" fmla="*/ 57037 w 338"/>
                  <a:gd name="T9" fmla="*/ 13680 h 141"/>
                  <a:gd name="T10" fmla="*/ 51420 w 338"/>
                  <a:gd name="T11" fmla="*/ 16213 h 141"/>
                  <a:gd name="T12" fmla="*/ 48395 w 338"/>
                  <a:gd name="T13" fmla="*/ 17226 h 141"/>
                  <a:gd name="T14" fmla="*/ 45371 w 338"/>
                  <a:gd name="T15" fmla="*/ 17733 h 141"/>
                  <a:gd name="T16" fmla="*/ 42778 w 338"/>
                  <a:gd name="T17" fmla="*/ 18239 h 141"/>
                  <a:gd name="T18" fmla="*/ 40185 w 338"/>
                  <a:gd name="T19" fmla="*/ 18746 h 141"/>
                  <a:gd name="T20" fmla="*/ 38025 w 338"/>
                  <a:gd name="T21" fmla="*/ 18239 h 141"/>
                  <a:gd name="T22" fmla="*/ 36296 w 338"/>
                  <a:gd name="T23" fmla="*/ 17733 h 141"/>
                  <a:gd name="T24" fmla="*/ 33704 w 338"/>
                  <a:gd name="T25" fmla="*/ 16213 h 141"/>
                  <a:gd name="T26" fmla="*/ 31975 w 338"/>
                  <a:gd name="T27" fmla="*/ 15200 h 141"/>
                  <a:gd name="T28" fmla="*/ 28519 w 338"/>
                  <a:gd name="T29" fmla="*/ 12160 h 141"/>
                  <a:gd name="T30" fmla="*/ 25494 w 338"/>
                  <a:gd name="T31" fmla="*/ 9120 h 141"/>
                  <a:gd name="T32" fmla="*/ 21173 w 338"/>
                  <a:gd name="T33" fmla="*/ 17226 h 141"/>
                  <a:gd name="T34" fmla="*/ 15988 w 338"/>
                  <a:gd name="T35" fmla="*/ 25839 h 141"/>
                  <a:gd name="T36" fmla="*/ 12963 w 338"/>
                  <a:gd name="T37" fmla="*/ 30399 h 141"/>
                  <a:gd name="T38" fmla="*/ 9074 w 338"/>
                  <a:gd name="T39" fmla="*/ 34452 h 141"/>
                  <a:gd name="T40" fmla="*/ 4753 w 338"/>
                  <a:gd name="T41" fmla="*/ 37999 h 141"/>
                  <a:gd name="T42" fmla="*/ 0 w 338"/>
                  <a:gd name="T43" fmla="*/ 40532 h 141"/>
                  <a:gd name="T44" fmla="*/ 5185 w 338"/>
                  <a:gd name="T45" fmla="*/ 45599 h 141"/>
                  <a:gd name="T46" fmla="*/ 9938 w 338"/>
                  <a:gd name="T47" fmla="*/ 50665 h 141"/>
                  <a:gd name="T48" fmla="*/ 14259 w 338"/>
                  <a:gd name="T49" fmla="*/ 54718 h 141"/>
                  <a:gd name="T50" fmla="*/ 19012 w 338"/>
                  <a:gd name="T51" fmla="*/ 58772 h 141"/>
                  <a:gd name="T52" fmla="*/ 23766 w 338"/>
                  <a:gd name="T53" fmla="*/ 61812 h 141"/>
                  <a:gd name="T54" fmla="*/ 28519 w 338"/>
                  <a:gd name="T55" fmla="*/ 65358 h 141"/>
                  <a:gd name="T56" fmla="*/ 34136 w 338"/>
                  <a:gd name="T57" fmla="*/ 68398 h 141"/>
                  <a:gd name="T58" fmla="*/ 40185 w 338"/>
                  <a:gd name="T59" fmla="*/ 71438 h 141"/>
                  <a:gd name="T60" fmla="*/ 111914 w 338"/>
                  <a:gd name="T61" fmla="*/ 71438 h 141"/>
                  <a:gd name="T62" fmla="*/ 116235 w 338"/>
                  <a:gd name="T63" fmla="*/ 62825 h 141"/>
                  <a:gd name="T64" fmla="*/ 121420 w 338"/>
                  <a:gd name="T65" fmla="*/ 54212 h 141"/>
                  <a:gd name="T66" fmla="*/ 126173 w 338"/>
                  <a:gd name="T67" fmla="*/ 46612 h 141"/>
                  <a:gd name="T68" fmla="*/ 131359 w 338"/>
                  <a:gd name="T69" fmla="*/ 39519 h 141"/>
                  <a:gd name="T70" fmla="*/ 136112 w 338"/>
                  <a:gd name="T71" fmla="*/ 32426 h 141"/>
                  <a:gd name="T72" fmla="*/ 140001 w 338"/>
                  <a:gd name="T73" fmla="*/ 24319 h 141"/>
                  <a:gd name="T74" fmla="*/ 143889 w 338"/>
                  <a:gd name="T75" fmla="*/ 17226 h 141"/>
                  <a:gd name="T76" fmla="*/ 146050 w 338"/>
                  <a:gd name="T77" fmla="*/ 9120 h 141"/>
                  <a:gd name="T78" fmla="*/ 134815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7" name="Freeform 344">
                <a:extLst>
                  <a:ext uri="{FF2B5EF4-FFF2-40B4-BE49-F238E27FC236}">
                    <a16:creationId xmlns:a16="http://schemas.microsoft.com/office/drawing/2014/main" id="{35D254B8-2E49-41DA-9B2F-01C2E777154D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00382" y="2783502"/>
                <a:ext cx="353673" cy="169666"/>
              </a:xfrm>
              <a:custGeom>
                <a:avLst/>
                <a:gdLst>
                  <a:gd name="T0" fmla="*/ 111125 w 259"/>
                  <a:gd name="T1" fmla="*/ 65087 h 129"/>
                  <a:gd name="T2" fmla="*/ 109409 w 259"/>
                  <a:gd name="T3" fmla="*/ 51464 h 129"/>
                  <a:gd name="T4" fmla="*/ 108122 w 259"/>
                  <a:gd name="T5" fmla="*/ 40364 h 129"/>
                  <a:gd name="T6" fmla="*/ 108122 w 259"/>
                  <a:gd name="T7" fmla="*/ 31787 h 129"/>
                  <a:gd name="T8" fmla="*/ 108551 w 259"/>
                  <a:gd name="T9" fmla="*/ 25228 h 129"/>
                  <a:gd name="T10" fmla="*/ 110267 w 259"/>
                  <a:gd name="T11" fmla="*/ 14632 h 129"/>
                  <a:gd name="T12" fmla="*/ 111125 w 259"/>
                  <a:gd name="T13" fmla="*/ 6055 h 129"/>
                  <a:gd name="T14" fmla="*/ 110696 w 259"/>
                  <a:gd name="T15" fmla="*/ 7064 h 129"/>
                  <a:gd name="T16" fmla="*/ 109838 w 259"/>
                  <a:gd name="T17" fmla="*/ 8073 h 129"/>
                  <a:gd name="T18" fmla="*/ 108551 w 259"/>
                  <a:gd name="T19" fmla="*/ 8577 h 129"/>
                  <a:gd name="T20" fmla="*/ 106834 w 259"/>
                  <a:gd name="T21" fmla="*/ 9082 h 129"/>
                  <a:gd name="T22" fmla="*/ 102544 w 259"/>
                  <a:gd name="T23" fmla="*/ 9586 h 129"/>
                  <a:gd name="T24" fmla="*/ 97824 w 259"/>
                  <a:gd name="T25" fmla="*/ 9586 h 129"/>
                  <a:gd name="T26" fmla="*/ 87956 w 259"/>
                  <a:gd name="T27" fmla="*/ 9586 h 129"/>
                  <a:gd name="T28" fmla="*/ 82378 w 259"/>
                  <a:gd name="T29" fmla="*/ 9082 h 129"/>
                  <a:gd name="T30" fmla="*/ 77659 w 259"/>
                  <a:gd name="T31" fmla="*/ 8577 h 129"/>
                  <a:gd name="T32" fmla="*/ 73797 w 259"/>
                  <a:gd name="T33" fmla="*/ 7568 h 129"/>
                  <a:gd name="T34" fmla="*/ 69936 w 259"/>
                  <a:gd name="T35" fmla="*/ 6055 h 129"/>
                  <a:gd name="T36" fmla="*/ 66932 w 259"/>
                  <a:gd name="T37" fmla="*/ 4541 h 129"/>
                  <a:gd name="T38" fmla="*/ 62642 w 259"/>
                  <a:gd name="T39" fmla="*/ 3027 h 129"/>
                  <a:gd name="T40" fmla="*/ 57493 w 259"/>
                  <a:gd name="T41" fmla="*/ 1514 h 129"/>
                  <a:gd name="T42" fmla="*/ 50628 w 259"/>
                  <a:gd name="T43" fmla="*/ 505 h 129"/>
                  <a:gd name="T44" fmla="*/ 42476 w 259"/>
                  <a:gd name="T45" fmla="*/ 0 h 129"/>
                  <a:gd name="T46" fmla="*/ 35611 w 259"/>
                  <a:gd name="T47" fmla="*/ 0 h 129"/>
                  <a:gd name="T48" fmla="*/ 28747 w 259"/>
                  <a:gd name="T49" fmla="*/ 0 h 129"/>
                  <a:gd name="T50" fmla="*/ 21453 w 259"/>
                  <a:gd name="T51" fmla="*/ 0 h 129"/>
                  <a:gd name="T52" fmla="*/ 14588 w 259"/>
                  <a:gd name="T53" fmla="*/ 1009 h 129"/>
                  <a:gd name="T54" fmla="*/ 11584 w 259"/>
                  <a:gd name="T55" fmla="*/ 2018 h 129"/>
                  <a:gd name="T56" fmla="*/ 9010 w 259"/>
                  <a:gd name="T57" fmla="*/ 3027 h 129"/>
                  <a:gd name="T58" fmla="*/ 6007 w 259"/>
                  <a:gd name="T59" fmla="*/ 4541 h 129"/>
                  <a:gd name="T60" fmla="*/ 4291 w 259"/>
                  <a:gd name="T61" fmla="*/ 6559 h 129"/>
                  <a:gd name="T62" fmla="*/ 2145 w 259"/>
                  <a:gd name="T63" fmla="*/ 8577 h 129"/>
                  <a:gd name="T64" fmla="*/ 858 w 259"/>
                  <a:gd name="T65" fmla="*/ 11100 h 129"/>
                  <a:gd name="T66" fmla="*/ 0 w 259"/>
                  <a:gd name="T67" fmla="*/ 14632 h 129"/>
                  <a:gd name="T68" fmla="*/ 0 w 259"/>
                  <a:gd name="T69" fmla="*/ 18164 h 129"/>
                  <a:gd name="T70" fmla="*/ 0 w 259"/>
                  <a:gd name="T71" fmla="*/ 24218 h 129"/>
                  <a:gd name="T72" fmla="*/ 1287 w 259"/>
                  <a:gd name="T73" fmla="*/ 29264 h 129"/>
                  <a:gd name="T74" fmla="*/ 2574 w 259"/>
                  <a:gd name="T75" fmla="*/ 32796 h 129"/>
                  <a:gd name="T76" fmla="*/ 5149 w 259"/>
                  <a:gd name="T77" fmla="*/ 35823 h 129"/>
                  <a:gd name="T78" fmla="*/ 7294 w 259"/>
                  <a:gd name="T79" fmla="*/ 38346 h 129"/>
                  <a:gd name="T80" fmla="*/ 10297 w 259"/>
                  <a:gd name="T81" fmla="*/ 40364 h 129"/>
                  <a:gd name="T82" fmla="*/ 13301 w 259"/>
                  <a:gd name="T83" fmla="*/ 41878 h 129"/>
                  <a:gd name="T84" fmla="*/ 15875 w 259"/>
                  <a:gd name="T85" fmla="*/ 42887 h 129"/>
                  <a:gd name="T86" fmla="*/ 21453 w 259"/>
                  <a:gd name="T87" fmla="*/ 44400 h 129"/>
                  <a:gd name="T88" fmla="*/ 26172 w 259"/>
                  <a:gd name="T89" fmla="*/ 46419 h 129"/>
                  <a:gd name="T90" fmla="*/ 27889 w 259"/>
                  <a:gd name="T91" fmla="*/ 47932 h 129"/>
                  <a:gd name="T92" fmla="*/ 28747 w 259"/>
                  <a:gd name="T93" fmla="*/ 49950 h 129"/>
                  <a:gd name="T94" fmla="*/ 28747 w 259"/>
                  <a:gd name="T95" fmla="*/ 52978 h 129"/>
                  <a:gd name="T96" fmla="*/ 28318 w 259"/>
                  <a:gd name="T97" fmla="*/ 56005 h 129"/>
                  <a:gd name="T98" fmla="*/ 34753 w 259"/>
                  <a:gd name="T99" fmla="*/ 55501 h 129"/>
                  <a:gd name="T100" fmla="*/ 39044 w 259"/>
                  <a:gd name="T101" fmla="*/ 54491 h 129"/>
                  <a:gd name="T102" fmla="*/ 42047 w 259"/>
                  <a:gd name="T103" fmla="*/ 53482 h 129"/>
                  <a:gd name="T104" fmla="*/ 45051 w 259"/>
                  <a:gd name="T105" fmla="*/ 52978 h 129"/>
                  <a:gd name="T106" fmla="*/ 51486 w 259"/>
                  <a:gd name="T107" fmla="*/ 53482 h 129"/>
                  <a:gd name="T108" fmla="*/ 60068 w 259"/>
                  <a:gd name="T109" fmla="*/ 54491 h 129"/>
                  <a:gd name="T110" fmla="*/ 71223 w 259"/>
                  <a:gd name="T111" fmla="*/ 56510 h 129"/>
                  <a:gd name="T112" fmla="*/ 82378 w 259"/>
                  <a:gd name="T113" fmla="*/ 59032 h 129"/>
                  <a:gd name="T114" fmla="*/ 102115 w 259"/>
                  <a:gd name="T115" fmla="*/ 63069 h 129"/>
                  <a:gd name="T116" fmla="*/ 111125 w 259"/>
                  <a:gd name="T117" fmla="*/ 65087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Freeform 345">
                <a:extLst>
                  <a:ext uri="{FF2B5EF4-FFF2-40B4-BE49-F238E27FC236}">
                    <a16:creationId xmlns:a16="http://schemas.microsoft.com/office/drawing/2014/main" id="{AA312F33-B927-4EC8-8D32-F04BC9A04C35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40801" y="3689769"/>
                <a:ext cx="570928" cy="372439"/>
              </a:xfrm>
              <a:custGeom>
                <a:avLst/>
                <a:gdLst>
                  <a:gd name="T0" fmla="*/ 176432 w 425"/>
                  <a:gd name="T1" fmla="*/ 89297 h 272"/>
                  <a:gd name="T2" fmla="*/ 167991 w 425"/>
                  <a:gd name="T3" fmla="*/ 98752 h 272"/>
                  <a:gd name="T4" fmla="*/ 161659 w 425"/>
                  <a:gd name="T5" fmla="*/ 108207 h 272"/>
                  <a:gd name="T6" fmla="*/ 162081 w 425"/>
                  <a:gd name="T7" fmla="*/ 116086 h 272"/>
                  <a:gd name="T8" fmla="*/ 164192 w 425"/>
                  <a:gd name="T9" fmla="*/ 124490 h 272"/>
                  <a:gd name="T10" fmla="*/ 158283 w 425"/>
                  <a:gd name="T11" fmla="*/ 128167 h 272"/>
                  <a:gd name="T12" fmla="*/ 146464 w 425"/>
                  <a:gd name="T13" fmla="*/ 125016 h 272"/>
                  <a:gd name="T14" fmla="*/ 136756 w 425"/>
                  <a:gd name="T15" fmla="*/ 123440 h 272"/>
                  <a:gd name="T16" fmla="*/ 124516 w 425"/>
                  <a:gd name="T17" fmla="*/ 123440 h 272"/>
                  <a:gd name="T18" fmla="*/ 111009 w 425"/>
                  <a:gd name="T19" fmla="*/ 127642 h 272"/>
                  <a:gd name="T20" fmla="*/ 97924 w 425"/>
                  <a:gd name="T21" fmla="*/ 133420 h 272"/>
                  <a:gd name="T22" fmla="*/ 83151 w 425"/>
                  <a:gd name="T23" fmla="*/ 140249 h 272"/>
                  <a:gd name="T24" fmla="*/ 42209 w 425"/>
                  <a:gd name="T25" fmla="*/ 126066 h 272"/>
                  <a:gd name="T26" fmla="*/ 35877 w 425"/>
                  <a:gd name="T27" fmla="*/ 118712 h 272"/>
                  <a:gd name="T28" fmla="*/ 29546 w 425"/>
                  <a:gd name="T29" fmla="*/ 112409 h 272"/>
                  <a:gd name="T30" fmla="*/ 15617 w 425"/>
                  <a:gd name="T31" fmla="*/ 100853 h 272"/>
                  <a:gd name="T32" fmla="*/ 9286 w 425"/>
                  <a:gd name="T33" fmla="*/ 94550 h 272"/>
                  <a:gd name="T34" fmla="*/ 4643 w 425"/>
                  <a:gd name="T35" fmla="*/ 87721 h 272"/>
                  <a:gd name="T36" fmla="*/ 844 w 425"/>
                  <a:gd name="T37" fmla="*/ 78791 h 272"/>
                  <a:gd name="T38" fmla="*/ 0 w 425"/>
                  <a:gd name="T39" fmla="*/ 67761 h 272"/>
                  <a:gd name="T40" fmla="*/ 21104 w 425"/>
                  <a:gd name="T41" fmla="*/ 34668 h 272"/>
                  <a:gd name="T42" fmla="*/ 29968 w 425"/>
                  <a:gd name="T43" fmla="*/ 18910 h 272"/>
                  <a:gd name="T44" fmla="*/ 33767 w 425"/>
                  <a:gd name="T45" fmla="*/ 11556 h 272"/>
                  <a:gd name="T46" fmla="*/ 35877 w 425"/>
                  <a:gd name="T47" fmla="*/ 3152 h 272"/>
                  <a:gd name="T48" fmla="*/ 51917 w 425"/>
                  <a:gd name="T49" fmla="*/ 5253 h 272"/>
                  <a:gd name="T50" fmla="*/ 64579 w 425"/>
                  <a:gd name="T51" fmla="*/ 9455 h 272"/>
                  <a:gd name="T52" fmla="*/ 75976 w 425"/>
                  <a:gd name="T53" fmla="*/ 14182 h 272"/>
                  <a:gd name="T54" fmla="*/ 86528 w 425"/>
                  <a:gd name="T55" fmla="*/ 16284 h 272"/>
                  <a:gd name="T56" fmla="*/ 90327 w 425"/>
                  <a:gd name="T57" fmla="*/ 15233 h 272"/>
                  <a:gd name="T58" fmla="*/ 93281 w 425"/>
                  <a:gd name="T59" fmla="*/ 13657 h 272"/>
                  <a:gd name="T60" fmla="*/ 97924 w 425"/>
                  <a:gd name="T61" fmla="*/ 7879 h 272"/>
                  <a:gd name="T62" fmla="*/ 102145 w 425"/>
                  <a:gd name="T63" fmla="*/ 2626 h 272"/>
                  <a:gd name="T64" fmla="*/ 105522 w 425"/>
                  <a:gd name="T65" fmla="*/ 1051 h 272"/>
                  <a:gd name="T66" fmla="*/ 109321 w 425"/>
                  <a:gd name="T67" fmla="*/ 0 h 272"/>
                  <a:gd name="T68" fmla="*/ 116074 w 425"/>
                  <a:gd name="T69" fmla="*/ 1051 h 272"/>
                  <a:gd name="T70" fmla="*/ 121983 w 425"/>
                  <a:gd name="T71" fmla="*/ 3677 h 272"/>
                  <a:gd name="T72" fmla="*/ 127470 w 425"/>
                  <a:gd name="T73" fmla="*/ 7879 h 272"/>
                  <a:gd name="T74" fmla="*/ 130847 w 425"/>
                  <a:gd name="T75" fmla="*/ 13657 h 272"/>
                  <a:gd name="T76" fmla="*/ 137178 w 425"/>
                  <a:gd name="T77" fmla="*/ 27840 h 272"/>
                  <a:gd name="T78" fmla="*/ 142243 w 425"/>
                  <a:gd name="T79" fmla="*/ 43073 h 272"/>
                  <a:gd name="T80" fmla="*/ 147308 w 425"/>
                  <a:gd name="T81" fmla="*/ 59356 h 272"/>
                  <a:gd name="T82" fmla="*/ 150263 w 425"/>
                  <a:gd name="T83" fmla="*/ 66185 h 272"/>
                  <a:gd name="T84" fmla="*/ 154062 w 425"/>
                  <a:gd name="T85" fmla="*/ 72488 h 272"/>
                  <a:gd name="T86" fmla="*/ 158705 w 425"/>
                  <a:gd name="T87" fmla="*/ 77216 h 272"/>
                  <a:gd name="T88" fmla="*/ 164192 w 425"/>
                  <a:gd name="T89" fmla="*/ 81943 h 272"/>
                  <a:gd name="T90" fmla="*/ 170945 w 425"/>
                  <a:gd name="T91" fmla="*/ 84044 h 272"/>
                  <a:gd name="T92" fmla="*/ 179387 w 425"/>
                  <a:gd name="T93" fmla="*/ 84569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29" name="Freeform 347">
                <a:extLst>
                  <a:ext uri="{FF2B5EF4-FFF2-40B4-BE49-F238E27FC236}">
                    <a16:creationId xmlns:a16="http://schemas.microsoft.com/office/drawing/2014/main" id="{51FC232E-9DBA-4E0A-9319-B6E13F7D91F1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774264" y="3669079"/>
                <a:ext cx="272833" cy="206909"/>
              </a:xfrm>
              <a:custGeom>
                <a:avLst/>
                <a:gdLst>
                  <a:gd name="T0" fmla="*/ 2679 w 192"/>
                  <a:gd name="T1" fmla="*/ 9793 h 154"/>
                  <a:gd name="T2" fmla="*/ 23217 w 192"/>
                  <a:gd name="T3" fmla="*/ 0 h 154"/>
                  <a:gd name="T4" fmla="*/ 41077 w 192"/>
                  <a:gd name="T5" fmla="*/ 9793 h 154"/>
                  <a:gd name="T6" fmla="*/ 53132 w 192"/>
                  <a:gd name="T7" fmla="*/ 15978 h 154"/>
                  <a:gd name="T8" fmla="*/ 65187 w 192"/>
                  <a:gd name="T9" fmla="*/ 32472 h 154"/>
                  <a:gd name="T10" fmla="*/ 74116 w 192"/>
                  <a:gd name="T11" fmla="*/ 47934 h 154"/>
                  <a:gd name="T12" fmla="*/ 85725 w 192"/>
                  <a:gd name="T13" fmla="*/ 60820 h 154"/>
                  <a:gd name="T14" fmla="*/ 67866 w 192"/>
                  <a:gd name="T15" fmla="*/ 63912 h 154"/>
                  <a:gd name="T16" fmla="*/ 56257 w 192"/>
                  <a:gd name="T17" fmla="*/ 67005 h 154"/>
                  <a:gd name="T18" fmla="*/ 56257 w 192"/>
                  <a:gd name="T19" fmla="*/ 79375 h 154"/>
                  <a:gd name="T20" fmla="*/ 47327 w 192"/>
                  <a:gd name="T21" fmla="*/ 79375 h 154"/>
                  <a:gd name="T22" fmla="*/ 44202 w 192"/>
                  <a:gd name="T23" fmla="*/ 75252 h 154"/>
                  <a:gd name="T24" fmla="*/ 41523 w 192"/>
                  <a:gd name="T25" fmla="*/ 70613 h 154"/>
                  <a:gd name="T26" fmla="*/ 39291 w 192"/>
                  <a:gd name="T27" fmla="*/ 64943 h 154"/>
                  <a:gd name="T28" fmla="*/ 36612 w 192"/>
                  <a:gd name="T29" fmla="*/ 59274 h 154"/>
                  <a:gd name="T30" fmla="*/ 33040 w 192"/>
                  <a:gd name="T31" fmla="*/ 47934 h 154"/>
                  <a:gd name="T32" fmla="*/ 29021 w 192"/>
                  <a:gd name="T33" fmla="*/ 36595 h 154"/>
                  <a:gd name="T34" fmla="*/ 26789 w 192"/>
                  <a:gd name="T35" fmla="*/ 31441 h 154"/>
                  <a:gd name="T36" fmla="*/ 24557 w 192"/>
                  <a:gd name="T37" fmla="*/ 25771 h 154"/>
                  <a:gd name="T38" fmla="*/ 21431 w 192"/>
                  <a:gd name="T39" fmla="*/ 21648 h 154"/>
                  <a:gd name="T40" fmla="*/ 18306 w 192"/>
                  <a:gd name="T41" fmla="*/ 17524 h 154"/>
                  <a:gd name="T42" fmla="*/ 14734 w 192"/>
                  <a:gd name="T43" fmla="*/ 14432 h 154"/>
                  <a:gd name="T44" fmla="*/ 10716 w 192"/>
                  <a:gd name="T45" fmla="*/ 11855 h 154"/>
                  <a:gd name="T46" fmla="*/ 8037 w 192"/>
                  <a:gd name="T47" fmla="*/ 11339 h 154"/>
                  <a:gd name="T48" fmla="*/ 5358 w 192"/>
                  <a:gd name="T49" fmla="*/ 10308 h 154"/>
                  <a:gd name="T50" fmla="*/ 2679 w 192"/>
                  <a:gd name="T51" fmla="*/ 10308 h 154"/>
                  <a:gd name="T52" fmla="*/ 0 w 192"/>
                  <a:gd name="T53" fmla="*/ 9793 h 154"/>
                  <a:gd name="T54" fmla="*/ 2679 w 192"/>
                  <a:gd name="T55" fmla="*/ 9793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0" name="Freeform 348">
                <a:extLst>
                  <a:ext uri="{FF2B5EF4-FFF2-40B4-BE49-F238E27FC236}">
                    <a16:creationId xmlns:a16="http://schemas.microsoft.com/office/drawing/2014/main" id="{E32C6007-F52B-4039-BD5F-2704A0B0D116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11536" y="3362852"/>
                <a:ext cx="1212592" cy="645560"/>
              </a:xfrm>
              <a:custGeom>
                <a:avLst/>
                <a:gdLst>
                  <a:gd name="T0" fmla="*/ 170299 w 877"/>
                  <a:gd name="T1" fmla="*/ 179533 h 469"/>
                  <a:gd name="T2" fmla="*/ 138585 w 877"/>
                  <a:gd name="T3" fmla="*/ 133594 h 469"/>
                  <a:gd name="T4" fmla="*/ 89494 w 877"/>
                  <a:gd name="T5" fmla="*/ 127257 h 469"/>
                  <a:gd name="T6" fmla="*/ 82977 w 877"/>
                  <a:gd name="T7" fmla="*/ 128313 h 469"/>
                  <a:gd name="T8" fmla="*/ 77330 w 877"/>
                  <a:gd name="T9" fmla="*/ 132538 h 469"/>
                  <a:gd name="T10" fmla="*/ 70379 w 877"/>
                  <a:gd name="T11" fmla="*/ 140986 h 469"/>
                  <a:gd name="T12" fmla="*/ 65600 w 877"/>
                  <a:gd name="T13" fmla="*/ 143098 h 469"/>
                  <a:gd name="T14" fmla="*/ 52567 w 877"/>
                  <a:gd name="T15" fmla="*/ 141514 h 469"/>
                  <a:gd name="T16" fmla="*/ 34320 w 877"/>
                  <a:gd name="T17" fmla="*/ 134650 h 469"/>
                  <a:gd name="T18" fmla="*/ 11295 w 877"/>
                  <a:gd name="T19" fmla="*/ 130425 h 469"/>
                  <a:gd name="T20" fmla="*/ 3475 w 877"/>
                  <a:gd name="T21" fmla="*/ 111944 h 469"/>
                  <a:gd name="T22" fmla="*/ 5648 w 877"/>
                  <a:gd name="T23" fmla="*/ 98743 h 469"/>
                  <a:gd name="T24" fmla="*/ 5648 w 877"/>
                  <a:gd name="T25" fmla="*/ 95047 h 469"/>
                  <a:gd name="T26" fmla="*/ 9992 w 877"/>
                  <a:gd name="T27" fmla="*/ 76038 h 469"/>
                  <a:gd name="T28" fmla="*/ 19115 w 877"/>
                  <a:gd name="T29" fmla="*/ 59140 h 469"/>
                  <a:gd name="T30" fmla="*/ 23460 w 877"/>
                  <a:gd name="T31" fmla="*/ 48580 h 469"/>
                  <a:gd name="T32" fmla="*/ 11295 w 877"/>
                  <a:gd name="T33" fmla="*/ 26402 h 469"/>
                  <a:gd name="T34" fmla="*/ 75157 w 877"/>
                  <a:gd name="T35" fmla="*/ 13729 h 469"/>
                  <a:gd name="T36" fmla="*/ 147274 w 877"/>
                  <a:gd name="T37" fmla="*/ 26402 h 469"/>
                  <a:gd name="T38" fmla="*/ 170299 w 877"/>
                  <a:gd name="T39" fmla="*/ 6864 h 469"/>
                  <a:gd name="T40" fmla="*/ 210701 w 877"/>
                  <a:gd name="T41" fmla="*/ 0 h 469"/>
                  <a:gd name="T42" fmla="*/ 251538 w 877"/>
                  <a:gd name="T43" fmla="*/ 20065 h 469"/>
                  <a:gd name="T44" fmla="*/ 277170 w 877"/>
                  <a:gd name="T45" fmla="*/ 58612 h 469"/>
                  <a:gd name="T46" fmla="*/ 314966 w 877"/>
                  <a:gd name="T47" fmla="*/ 58612 h 469"/>
                  <a:gd name="T48" fmla="*/ 364057 w 877"/>
                  <a:gd name="T49" fmla="*/ 81846 h 469"/>
                  <a:gd name="T50" fmla="*/ 375352 w 877"/>
                  <a:gd name="T51" fmla="*/ 124089 h 469"/>
                  <a:gd name="T52" fmla="*/ 349286 w 877"/>
                  <a:gd name="T53" fmla="*/ 143626 h 469"/>
                  <a:gd name="T54" fmla="*/ 327564 w 877"/>
                  <a:gd name="T55" fmla="*/ 165276 h 469"/>
                  <a:gd name="T56" fmla="*/ 298892 w 877"/>
                  <a:gd name="T57" fmla="*/ 174253 h 469"/>
                  <a:gd name="T58" fmla="*/ 288031 w 877"/>
                  <a:gd name="T59" fmla="*/ 181117 h 469"/>
                  <a:gd name="T60" fmla="*/ 281514 w 877"/>
                  <a:gd name="T61" fmla="*/ 189038 h 469"/>
                  <a:gd name="T62" fmla="*/ 280645 w 877"/>
                  <a:gd name="T63" fmla="*/ 198014 h 469"/>
                  <a:gd name="T64" fmla="*/ 283686 w 877"/>
                  <a:gd name="T65" fmla="*/ 205935 h 469"/>
                  <a:gd name="T66" fmla="*/ 289334 w 877"/>
                  <a:gd name="T67" fmla="*/ 211743 h 469"/>
                  <a:gd name="T68" fmla="*/ 308884 w 877"/>
                  <a:gd name="T69" fmla="*/ 209103 h 469"/>
                  <a:gd name="T70" fmla="*/ 321917 w 877"/>
                  <a:gd name="T71" fmla="*/ 208047 h 469"/>
                  <a:gd name="T72" fmla="*/ 318876 w 877"/>
                  <a:gd name="T73" fmla="*/ 212799 h 469"/>
                  <a:gd name="T74" fmla="*/ 311056 w 877"/>
                  <a:gd name="T75" fmla="*/ 222304 h 469"/>
                  <a:gd name="T76" fmla="*/ 303236 w 877"/>
                  <a:gd name="T77" fmla="*/ 231281 h 469"/>
                  <a:gd name="T78" fmla="*/ 299326 w 877"/>
                  <a:gd name="T79" fmla="*/ 221248 h 469"/>
                  <a:gd name="T80" fmla="*/ 291506 w 877"/>
                  <a:gd name="T81" fmla="*/ 215440 h 469"/>
                  <a:gd name="T82" fmla="*/ 289334 w 877"/>
                  <a:gd name="T83" fmla="*/ 223360 h 469"/>
                  <a:gd name="T84" fmla="*/ 279342 w 877"/>
                  <a:gd name="T85" fmla="*/ 233393 h 469"/>
                  <a:gd name="T86" fmla="*/ 268916 w 877"/>
                  <a:gd name="T87" fmla="*/ 242898 h 469"/>
                  <a:gd name="T88" fmla="*/ 265440 w 877"/>
                  <a:gd name="T89" fmla="*/ 247650 h 469"/>
                  <a:gd name="T90" fmla="*/ 258489 w 877"/>
                  <a:gd name="T91" fmla="*/ 245010 h 469"/>
                  <a:gd name="T92" fmla="*/ 253710 w 877"/>
                  <a:gd name="T93" fmla="*/ 240257 h 469"/>
                  <a:gd name="T94" fmla="*/ 249800 w 877"/>
                  <a:gd name="T95" fmla="*/ 231809 h 469"/>
                  <a:gd name="T96" fmla="*/ 248497 w 877"/>
                  <a:gd name="T97" fmla="*/ 215440 h 469"/>
                  <a:gd name="T98" fmla="*/ 238071 w 877"/>
                  <a:gd name="T99" fmla="*/ 213328 h 469"/>
                  <a:gd name="T100" fmla="*/ 225038 w 877"/>
                  <a:gd name="T101" fmla="*/ 205407 h 469"/>
                  <a:gd name="T102" fmla="*/ 242849 w 877"/>
                  <a:gd name="T103" fmla="*/ 200127 h 469"/>
                  <a:gd name="T104" fmla="*/ 271522 w 877"/>
                  <a:gd name="T105" fmla="*/ 195374 h 469"/>
                  <a:gd name="T106" fmla="*/ 214177 w 877"/>
                  <a:gd name="T107" fmla="*/ 186926 h 469"/>
                  <a:gd name="T108" fmla="*/ 193324 w 877"/>
                  <a:gd name="T109" fmla="*/ 175837 h 469"/>
                  <a:gd name="T110" fmla="*/ 172905 w 877"/>
                  <a:gd name="T111" fmla="*/ 194846 h 469"/>
                  <a:gd name="T112" fmla="*/ 165086 w 877"/>
                  <a:gd name="T113" fmla="*/ 208575 h 469"/>
                  <a:gd name="T114" fmla="*/ 153356 w 877"/>
                  <a:gd name="T115" fmla="*/ 211215 h 469"/>
                  <a:gd name="T116" fmla="*/ 142495 w 877"/>
                  <a:gd name="T117" fmla="*/ 206991 h 469"/>
                  <a:gd name="T118" fmla="*/ 132937 w 877"/>
                  <a:gd name="T119" fmla="*/ 198542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1" name="Freeform 354">
                <a:extLst>
                  <a:ext uri="{FF2B5EF4-FFF2-40B4-BE49-F238E27FC236}">
                    <a16:creationId xmlns:a16="http://schemas.microsoft.com/office/drawing/2014/main" id="{C31EF58A-2265-4540-A641-5CD03E9779DB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05433" y="4136695"/>
                <a:ext cx="217258" cy="157253"/>
              </a:xfrm>
              <a:custGeom>
                <a:avLst/>
                <a:gdLst>
                  <a:gd name="T0" fmla="*/ 48637 w 160"/>
                  <a:gd name="T1" fmla="*/ 0 h 117"/>
                  <a:gd name="T2" fmla="*/ 48637 w 160"/>
                  <a:gd name="T3" fmla="*/ 4640 h 117"/>
                  <a:gd name="T4" fmla="*/ 48637 w 160"/>
                  <a:gd name="T5" fmla="*/ 9281 h 117"/>
                  <a:gd name="T6" fmla="*/ 49064 w 160"/>
                  <a:gd name="T7" fmla="*/ 12890 h 117"/>
                  <a:gd name="T8" fmla="*/ 49917 w 160"/>
                  <a:gd name="T9" fmla="*/ 16499 h 117"/>
                  <a:gd name="T10" fmla="*/ 50771 w 160"/>
                  <a:gd name="T11" fmla="*/ 17530 h 117"/>
                  <a:gd name="T12" fmla="*/ 51624 w 160"/>
                  <a:gd name="T13" fmla="*/ 19077 h 117"/>
                  <a:gd name="T14" fmla="*/ 52477 w 160"/>
                  <a:gd name="T15" fmla="*/ 19593 h 117"/>
                  <a:gd name="T16" fmla="*/ 54184 w 160"/>
                  <a:gd name="T17" fmla="*/ 20108 h 117"/>
                  <a:gd name="T18" fmla="*/ 55890 w 160"/>
                  <a:gd name="T19" fmla="*/ 20624 h 117"/>
                  <a:gd name="T20" fmla="*/ 57597 w 160"/>
                  <a:gd name="T21" fmla="*/ 20108 h 117"/>
                  <a:gd name="T22" fmla="*/ 59730 w 160"/>
                  <a:gd name="T23" fmla="*/ 19593 h 117"/>
                  <a:gd name="T24" fmla="*/ 62290 w 160"/>
                  <a:gd name="T25" fmla="*/ 18562 h 117"/>
                  <a:gd name="T26" fmla="*/ 63570 w 160"/>
                  <a:gd name="T27" fmla="*/ 22171 h 117"/>
                  <a:gd name="T28" fmla="*/ 65276 w 160"/>
                  <a:gd name="T29" fmla="*/ 26811 h 117"/>
                  <a:gd name="T30" fmla="*/ 66983 w 160"/>
                  <a:gd name="T31" fmla="*/ 32998 h 117"/>
                  <a:gd name="T32" fmla="*/ 68263 w 160"/>
                  <a:gd name="T33" fmla="*/ 38154 h 117"/>
                  <a:gd name="T34" fmla="*/ 56744 w 160"/>
                  <a:gd name="T35" fmla="*/ 45373 h 117"/>
                  <a:gd name="T36" fmla="*/ 45224 w 160"/>
                  <a:gd name="T37" fmla="*/ 52591 h 117"/>
                  <a:gd name="T38" fmla="*/ 39251 w 160"/>
                  <a:gd name="T39" fmla="*/ 55169 h 117"/>
                  <a:gd name="T40" fmla="*/ 32425 w 160"/>
                  <a:gd name="T41" fmla="*/ 58263 h 117"/>
                  <a:gd name="T42" fmla="*/ 26452 w 160"/>
                  <a:gd name="T43" fmla="*/ 59809 h 117"/>
                  <a:gd name="T44" fmla="*/ 20052 w 160"/>
                  <a:gd name="T45" fmla="*/ 60325 h 117"/>
                  <a:gd name="T46" fmla="*/ 13653 w 160"/>
                  <a:gd name="T47" fmla="*/ 51044 h 117"/>
                  <a:gd name="T48" fmla="*/ 8960 w 160"/>
                  <a:gd name="T49" fmla="*/ 42795 h 117"/>
                  <a:gd name="T50" fmla="*/ 4266 w 160"/>
                  <a:gd name="T51" fmla="*/ 35576 h 117"/>
                  <a:gd name="T52" fmla="*/ 0 w 160"/>
                  <a:gd name="T53" fmla="*/ 28358 h 117"/>
                  <a:gd name="T54" fmla="*/ 5546 w 160"/>
                  <a:gd name="T55" fmla="*/ 24749 h 117"/>
                  <a:gd name="T56" fmla="*/ 17492 w 160"/>
                  <a:gd name="T57" fmla="*/ 16499 h 117"/>
                  <a:gd name="T58" fmla="*/ 25599 w 160"/>
                  <a:gd name="T59" fmla="*/ 11859 h 117"/>
                  <a:gd name="T60" fmla="*/ 33278 w 160"/>
                  <a:gd name="T61" fmla="*/ 7218 h 117"/>
                  <a:gd name="T62" fmla="*/ 41384 w 160"/>
                  <a:gd name="T63" fmla="*/ 3094 h 117"/>
                  <a:gd name="T64" fmla="*/ 48637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Freeform 437">
                <a:extLst>
                  <a:ext uri="{FF2B5EF4-FFF2-40B4-BE49-F238E27FC236}">
                    <a16:creationId xmlns:a16="http://schemas.microsoft.com/office/drawing/2014/main" id="{DF250926-9EB8-413E-824F-5B5A732BB037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2995796" y="4136695"/>
                <a:ext cx="50524" cy="148976"/>
              </a:xfrm>
              <a:custGeom>
                <a:avLst/>
                <a:gdLst>
                  <a:gd name="T0" fmla="*/ 9172 w 45"/>
                  <a:gd name="T1" fmla="*/ 0 h 36"/>
                  <a:gd name="T2" fmla="*/ 0 w 45"/>
                  <a:gd name="T3" fmla="*/ 28575 h 36"/>
                  <a:gd name="T4" fmla="*/ 8114 w 45"/>
                  <a:gd name="T5" fmla="*/ 57150 h 36"/>
                  <a:gd name="T6" fmla="*/ 15875 w 45"/>
                  <a:gd name="T7" fmla="*/ 23813 h 36"/>
                  <a:gd name="T8" fmla="*/ 9172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3" name="Freeform 443">
                <a:extLst>
                  <a:ext uri="{FF2B5EF4-FFF2-40B4-BE49-F238E27FC236}">
                    <a16:creationId xmlns:a16="http://schemas.microsoft.com/office/drawing/2014/main" id="{8F56CA66-6E9E-4CB4-9D58-0EBE7468AA55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11536" y="3056626"/>
                <a:ext cx="666927" cy="393129"/>
              </a:xfrm>
              <a:custGeom>
                <a:avLst/>
                <a:gdLst>
                  <a:gd name="T0" fmla="*/ 108880 w 485"/>
                  <a:gd name="T1" fmla="*/ 10365 h 291"/>
                  <a:gd name="T2" fmla="*/ 129619 w 485"/>
                  <a:gd name="T3" fmla="*/ 22803 h 291"/>
                  <a:gd name="T4" fmla="*/ 160727 w 485"/>
                  <a:gd name="T5" fmla="*/ 22803 h 291"/>
                  <a:gd name="T6" fmla="*/ 183626 w 485"/>
                  <a:gd name="T7" fmla="*/ 67891 h 291"/>
                  <a:gd name="T8" fmla="*/ 209550 w 485"/>
                  <a:gd name="T9" fmla="*/ 86548 h 291"/>
                  <a:gd name="T10" fmla="*/ 178009 w 485"/>
                  <a:gd name="T11" fmla="*/ 89658 h 291"/>
                  <a:gd name="T12" fmla="*/ 187083 w 485"/>
                  <a:gd name="T13" fmla="*/ 108833 h 291"/>
                  <a:gd name="T14" fmla="*/ 169368 w 485"/>
                  <a:gd name="T15" fmla="*/ 124899 h 291"/>
                  <a:gd name="T16" fmla="*/ 166344 w 485"/>
                  <a:gd name="T17" fmla="*/ 150812 h 291"/>
                  <a:gd name="T18" fmla="*/ 123138 w 485"/>
                  <a:gd name="T19" fmla="*/ 137856 h 291"/>
                  <a:gd name="T20" fmla="*/ 74747 w 485"/>
                  <a:gd name="T21" fmla="*/ 131637 h 291"/>
                  <a:gd name="T22" fmla="*/ 25924 w 485"/>
                  <a:gd name="T23" fmla="*/ 137856 h 291"/>
                  <a:gd name="T24" fmla="*/ 6481 w 485"/>
                  <a:gd name="T25" fmla="*/ 140447 h 291"/>
                  <a:gd name="T26" fmla="*/ 3456 w 485"/>
                  <a:gd name="T27" fmla="*/ 133191 h 291"/>
                  <a:gd name="T28" fmla="*/ 1296 w 485"/>
                  <a:gd name="T29" fmla="*/ 126454 h 291"/>
                  <a:gd name="T30" fmla="*/ 0 w 485"/>
                  <a:gd name="T31" fmla="*/ 118680 h 291"/>
                  <a:gd name="T32" fmla="*/ 2160 w 485"/>
                  <a:gd name="T33" fmla="*/ 113498 h 291"/>
                  <a:gd name="T34" fmla="*/ 6049 w 485"/>
                  <a:gd name="T35" fmla="*/ 107279 h 291"/>
                  <a:gd name="T36" fmla="*/ 9937 w 485"/>
                  <a:gd name="T37" fmla="*/ 97950 h 291"/>
                  <a:gd name="T38" fmla="*/ 13394 w 485"/>
                  <a:gd name="T39" fmla="*/ 86030 h 291"/>
                  <a:gd name="T40" fmla="*/ 17715 w 485"/>
                  <a:gd name="T41" fmla="*/ 71001 h 291"/>
                  <a:gd name="T42" fmla="*/ 20739 w 485"/>
                  <a:gd name="T43" fmla="*/ 65300 h 291"/>
                  <a:gd name="T44" fmla="*/ 25924 w 485"/>
                  <a:gd name="T45" fmla="*/ 61672 h 291"/>
                  <a:gd name="T46" fmla="*/ 37589 w 485"/>
                  <a:gd name="T47" fmla="*/ 57526 h 291"/>
                  <a:gd name="T48" fmla="*/ 38454 w 485"/>
                  <a:gd name="T49" fmla="*/ 54935 h 291"/>
                  <a:gd name="T50" fmla="*/ 40614 w 485"/>
                  <a:gd name="T51" fmla="*/ 51825 h 291"/>
                  <a:gd name="T52" fmla="*/ 43638 w 485"/>
                  <a:gd name="T53" fmla="*/ 49234 h 291"/>
                  <a:gd name="T54" fmla="*/ 45799 w 485"/>
                  <a:gd name="T55" fmla="*/ 48198 h 291"/>
                  <a:gd name="T56" fmla="*/ 45799 w 485"/>
                  <a:gd name="T57" fmla="*/ 39387 h 291"/>
                  <a:gd name="T58" fmla="*/ 47095 w 485"/>
                  <a:gd name="T59" fmla="*/ 36278 h 291"/>
                  <a:gd name="T60" fmla="*/ 48823 w 485"/>
                  <a:gd name="T61" fmla="*/ 34723 h 291"/>
                  <a:gd name="T62" fmla="*/ 52712 w 485"/>
                  <a:gd name="T63" fmla="*/ 35760 h 291"/>
                  <a:gd name="T64" fmla="*/ 55304 w 485"/>
                  <a:gd name="T65" fmla="*/ 35760 h 291"/>
                  <a:gd name="T66" fmla="*/ 57032 w 485"/>
                  <a:gd name="T67" fmla="*/ 34205 h 291"/>
                  <a:gd name="T68" fmla="*/ 57896 w 485"/>
                  <a:gd name="T69" fmla="*/ 29022 h 291"/>
                  <a:gd name="T70" fmla="*/ 60057 w 485"/>
                  <a:gd name="T71" fmla="*/ 22803 h 291"/>
                  <a:gd name="T72" fmla="*/ 62217 w 485"/>
                  <a:gd name="T73" fmla="*/ 20212 h 291"/>
                  <a:gd name="T74" fmla="*/ 92029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444">
                <a:extLst>
                  <a:ext uri="{FF2B5EF4-FFF2-40B4-BE49-F238E27FC236}">
                    <a16:creationId xmlns:a16="http://schemas.microsoft.com/office/drawing/2014/main" id="{766410EF-43A4-46B0-834F-A7BC29643032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056814" y="3921509"/>
                <a:ext cx="262728" cy="227603"/>
              </a:xfrm>
              <a:custGeom>
                <a:avLst/>
                <a:gdLst>
                  <a:gd name="T0" fmla="*/ 38168 w 186"/>
                  <a:gd name="T1" fmla="*/ 77319 h 166"/>
                  <a:gd name="T2" fmla="*/ 36837 w 186"/>
                  <a:gd name="T3" fmla="*/ 71534 h 166"/>
                  <a:gd name="T4" fmla="*/ 34618 w 186"/>
                  <a:gd name="T5" fmla="*/ 66800 h 166"/>
                  <a:gd name="T6" fmla="*/ 32842 w 186"/>
                  <a:gd name="T7" fmla="*/ 62066 h 166"/>
                  <a:gd name="T8" fmla="*/ 31067 w 186"/>
                  <a:gd name="T9" fmla="*/ 57858 h 166"/>
                  <a:gd name="T10" fmla="*/ 26629 w 186"/>
                  <a:gd name="T11" fmla="*/ 49968 h 166"/>
                  <a:gd name="T12" fmla="*/ 21747 w 186"/>
                  <a:gd name="T13" fmla="*/ 43131 h 166"/>
                  <a:gd name="T14" fmla="*/ 16421 w 186"/>
                  <a:gd name="T15" fmla="*/ 36819 h 166"/>
                  <a:gd name="T16" fmla="*/ 11095 w 186"/>
                  <a:gd name="T17" fmla="*/ 29455 h 166"/>
                  <a:gd name="T18" fmla="*/ 5770 w 186"/>
                  <a:gd name="T19" fmla="*/ 19987 h 166"/>
                  <a:gd name="T20" fmla="*/ 0 w 186"/>
                  <a:gd name="T21" fmla="*/ 9468 h 166"/>
                  <a:gd name="T22" fmla="*/ 0 w 186"/>
                  <a:gd name="T23" fmla="*/ 0 h 166"/>
                  <a:gd name="T24" fmla="*/ 3107 w 186"/>
                  <a:gd name="T25" fmla="*/ 1052 h 166"/>
                  <a:gd name="T26" fmla="*/ 6213 w 186"/>
                  <a:gd name="T27" fmla="*/ 1578 h 166"/>
                  <a:gd name="T28" fmla="*/ 8876 w 186"/>
                  <a:gd name="T29" fmla="*/ 2104 h 166"/>
                  <a:gd name="T30" fmla="*/ 11983 w 186"/>
                  <a:gd name="T31" fmla="*/ 2104 h 166"/>
                  <a:gd name="T32" fmla="*/ 14646 w 186"/>
                  <a:gd name="T33" fmla="*/ 2104 h 166"/>
                  <a:gd name="T34" fmla="*/ 17753 w 186"/>
                  <a:gd name="T35" fmla="*/ 1578 h 166"/>
                  <a:gd name="T36" fmla="*/ 20859 w 186"/>
                  <a:gd name="T37" fmla="*/ 1052 h 166"/>
                  <a:gd name="T38" fmla="*/ 23522 w 186"/>
                  <a:gd name="T39" fmla="*/ 0 h 166"/>
                  <a:gd name="T40" fmla="*/ 62134 w 186"/>
                  <a:gd name="T41" fmla="*/ 6312 h 166"/>
                  <a:gd name="T42" fmla="*/ 82550 w 186"/>
                  <a:gd name="T43" fmla="*/ 47864 h 166"/>
                  <a:gd name="T44" fmla="*/ 75893 w 186"/>
                  <a:gd name="T45" fmla="*/ 58910 h 166"/>
                  <a:gd name="T46" fmla="*/ 68792 w 186"/>
                  <a:gd name="T47" fmla="*/ 67852 h 166"/>
                  <a:gd name="T48" fmla="*/ 66129 w 186"/>
                  <a:gd name="T49" fmla="*/ 72060 h 166"/>
                  <a:gd name="T50" fmla="*/ 63910 w 186"/>
                  <a:gd name="T51" fmla="*/ 76267 h 166"/>
                  <a:gd name="T52" fmla="*/ 63022 w 186"/>
                  <a:gd name="T53" fmla="*/ 78897 h 166"/>
                  <a:gd name="T54" fmla="*/ 62578 w 186"/>
                  <a:gd name="T55" fmla="*/ 82053 h 166"/>
                  <a:gd name="T56" fmla="*/ 62134 w 186"/>
                  <a:gd name="T57" fmla="*/ 84683 h 166"/>
                  <a:gd name="T58" fmla="*/ 62134 w 186"/>
                  <a:gd name="T59" fmla="*/ 87313 h 166"/>
                  <a:gd name="T60" fmla="*/ 38168 w 186"/>
                  <a:gd name="T61" fmla="*/ 77319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446">
                <a:extLst>
                  <a:ext uri="{FF2B5EF4-FFF2-40B4-BE49-F238E27FC236}">
                    <a16:creationId xmlns:a16="http://schemas.microsoft.com/office/drawing/2014/main" id="{6FF74E2F-6272-4334-8220-58778B204114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62060" y="4012549"/>
                <a:ext cx="424408" cy="252431"/>
              </a:xfrm>
              <a:custGeom>
                <a:avLst/>
                <a:gdLst>
                  <a:gd name="T0" fmla="*/ 33873 w 311"/>
                  <a:gd name="T1" fmla="*/ 20558 h 179"/>
                  <a:gd name="T2" fmla="*/ 49309 w 311"/>
                  <a:gd name="T3" fmla="*/ 14066 h 179"/>
                  <a:gd name="T4" fmla="*/ 63459 w 311"/>
                  <a:gd name="T5" fmla="*/ 7574 h 179"/>
                  <a:gd name="T6" fmla="*/ 76323 w 311"/>
                  <a:gd name="T7" fmla="*/ 2164 h 179"/>
                  <a:gd name="T8" fmla="*/ 90472 w 311"/>
                  <a:gd name="T9" fmla="*/ 0 h 179"/>
                  <a:gd name="T10" fmla="*/ 101192 w 311"/>
                  <a:gd name="T11" fmla="*/ 1082 h 179"/>
                  <a:gd name="T12" fmla="*/ 109767 w 311"/>
                  <a:gd name="T13" fmla="*/ 3246 h 179"/>
                  <a:gd name="T14" fmla="*/ 125203 w 311"/>
                  <a:gd name="T15" fmla="*/ 6492 h 179"/>
                  <a:gd name="T16" fmla="*/ 123059 w 311"/>
                  <a:gd name="T17" fmla="*/ 15148 h 179"/>
                  <a:gd name="T18" fmla="*/ 119200 w 311"/>
                  <a:gd name="T19" fmla="*/ 22722 h 179"/>
                  <a:gd name="T20" fmla="*/ 115341 w 311"/>
                  <a:gd name="T21" fmla="*/ 28673 h 179"/>
                  <a:gd name="T22" fmla="*/ 113626 w 311"/>
                  <a:gd name="T23" fmla="*/ 33542 h 179"/>
                  <a:gd name="T24" fmla="*/ 114055 w 311"/>
                  <a:gd name="T25" fmla="*/ 35706 h 179"/>
                  <a:gd name="T26" fmla="*/ 116199 w 311"/>
                  <a:gd name="T27" fmla="*/ 38411 h 179"/>
                  <a:gd name="T28" fmla="*/ 122202 w 311"/>
                  <a:gd name="T29" fmla="*/ 42739 h 179"/>
                  <a:gd name="T30" fmla="*/ 133350 w 311"/>
                  <a:gd name="T31" fmla="*/ 50312 h 179"/>
                  <a:gd name="T32" fmla="*/ 123059 w 311"/>
                  <a:gd name="T33" fmla="*/ 57886 h 179"/>
                  <a:gd name="T34" fmla="*/ 120487 w 311"/>
                  <a:gd name="T35" fmla="*/ 62214 h 179"/>
                  <a:gd name="T36" fmla="*/ 119200 w 311"/>
                  <a:gd name="T37" fmla="*/ 69788 h 179"/>
                  <a:gd name="T38" fmla="*/ 108052 w 311"/>
                  <a:gd name="T39" fmla="*/ 73575 h 179"/>
                  <a:gd name="T40" fmla="*/ 90472 w 311"/>
                  <a:gd name="T41" fmla="*/ 80067 h 179"/>
                  <a:gd name="T42" fmla="*/ 81897 w 311"/>
                  <a:gd name="T43" fmla="*/ 90887 h 179"/>
                  <a:gd name="T44" fmla="*/ 76323 w 311"/>
                  <a:gd name="T45" fmla="*/ 95215 h 179"/>
                  <a:gd name="T46" fmla="*/ 70748 w 311"/>
                  <a:gd name="T47" fmla="*/ 96838 h 179"/>
                  <a:gd name="T48" fmla="*/ 64745 w 311"/>
                  <a:gd name="T49" fmla="*/ 94674 h 179"/>
                  <a:gd name="T50" fmla="*/ 58743 w 311"/>
                  <a:gd name="T51" fmla="*/ 90346 h 179"/>
                  <a:gd name="T52" fmla="*/ 51453 w 311"/>
                  <a:gd name="T53" fmla="*/ 85477 h 179"/>
                  <a:gd name="T54" fmla="*/ 42020 w 311"/>
                  <a:gd name="T55" fmla="*/ 83854 h 179"/>
                  <a:gd name="T56" fmla="*/ 28299 w 311"/>
                  <a:gd name="T57" fmla="*/ 83854 h 179"/>
                  <a:gd name="T58" fmla="*/ 21868 w 311"/>
                  <a:gd name="T59" fmla="*/ 84936 h 179"/>
                  <a:gd name="T60" fmla="*/ 16722 w 311"/>
                  <a:gd name="T61" fmla="*/ 87100 h 179"/>
                  <a:gd name="T62" fmla="*/ 15436 w 311"/>
                  <a:gd name="T63" fmla="*/ 76821 h 179"/>
                  <a:gd name="T64" fmla="*/ 13721 w 311"/>
                  <a:gd name="T65" fmla="*/ 66542 h 179"/>
                  <a:gd name="T66" fmla="*/ 9004 w 311"/>
                  <a:gd name="T67" fmla="*/ 69247 h 179"/>
                  <a:gd name="T68" fmla="*/ 5574 w 311"/>
                  <a:gd name="T69" fmla="*/ 69788 h 179"/>
                  <a:gd name="T70" fmla="*/ 3001 w 311"/>
                  <a:gd name="T71" fmla="*/ 68165 h 179"/>
                  <a:gd name="T72" fmla="*/ 1286 w 311"/>
                  <a:gd name="T73" fmla="*/ 65460 h 179"/>
                  <a:gd name="T74" fmla="*/ 0 w 311"/>
                  <a:gd name="T75" fmla="*/ 56804 h 179"/>
                  <a:gd name="T76" fmla="*/ 0 w 311"/>
                  <a:gd name="T77" fmla="*/ 47067 h 179"/>
                  <a:gd name="T78" fmla="*/ 1286 w 311"/>
                  <a:gd name="T79" fmla="*/ 44362 h 179"/>
                  <a:gd name="T80" fmla="*/ 5574 w 311"/>
                  <a:gd name="T81" fmla="*/ 42198 h 179"/>
                  <a:gd name="T82" fmla="*/ 9004 w 311"/>
                  <a:gd name="T83" fmla="*/ 38952 h 179"/>
                  <a:gd name="T84" fmla="*/ 10719 w 311"/>
                  <a:gd name="T85" fmla="*/ 36788 h 179"/>
                  <a:gd name="T86" fmla="*/ 11148 w 311"/>
                  <a:gd name="T87" fmla="*/ 33542 h 179"/>
                  <a:gd name="T88" fmla="*/ 10291 w 311"/>
                  <a:gd name="T89" fmla="*/ 27591 h 179"/>
                  <a:gd name="T90" fmla="*/ 8147 w 311"/>
                  <a:gd name="T91" fmla="*/ 23263 h 179"/>
                  <a:gd name="T92" fmla="*/ 3430 w 311"/>
                  <a:gd name="T93" fmla="*/ 15689 h 179"/>
                  <a:gd name="T94" fmla="*/ 429 w 311"/>
                  <a:gd name="T95" fmla="*/ 9738 h 179"/>
                  <a:gd name="T96" fmla="*/ 429 w 311"/>
                  <a:gd name="T97" fmla="*/ 7033 h 179"/>
                  <a:gd name="T98" fmla="*/ 2573 w 311"/>
                  <a:gd name="T99" fmla="*/ 3246 h 179"/>
                  <a:gd name="T100" fmla="*/ 0 w 311"/>
                  <a:gd name="T101" fmla="*/ 3246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452">
                <a:extLst>
                  <a:ext uri="{FF2B5EF4-FFF2-40B4-BE49-F238E27FC236}">
                    <a16:creationId xmlns:a16="http://schemas.microsoft.com/office/drawing/2014/main" id="{42A1F31B-8DA8-49B4-B741-90964FCC4A91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905241" y="3826332"/>
                <a:ext cx="404196" cy="297950"/>
              </a:xfrm>
              <a:custGeom>
                <a:avLst/>
                <a:gdLst>
                  <a:gd name="T0" fmla="*/ 112647 w 292"/>
                  <a:gd name="T1" fmla="*/ 47668 h 223"/>
                  <a:gd name="T2" fmla="*/ 72199 w 292"/>
                  <a:gd name="T3" fmla="*/ 39467 h 223"/>
                  <a:gd name="T4" fmla="*/ 66110 w 292"/>
                  <a:gd name="T5" fmla="*/ 40492 h 223"/>
                  <a:gd name="T6" fmla="*/ 60455 w 292"/>
                  <a:gd name="T7" fmla="*/ 40492 h 223"/>
                  <a:gd name="T8" fmla="*/ 54801 w 292"/>
                  <a:gd name="T9" fmla="*/ 39467 h 223"/>
                  <a:gd name="T10" fmla="*/ 51757 w 292"/>
                  <a:gd name="T11" fmla="*/ 47668 h 223"/>
                  <a:gd name="T12" fmla="*/ 62630 w 292"/>
                  <a:gd name="T13" fmla="*/ 67145 h 223"/>
                  <a:gd name="T14" fmla="*/ 73068 w 292"/>
                  <a:gd name="T15" fmla="*/ 80471 h 223"/>
                  <a:gd name="T16" fmla="*/ 82202 w 292"/>
                  <a:gd name="T17" fmla="*/ 94823 h 223"/>
                  <a:gd name="T18" fmla="*/ 85682 w 292"/>
                  <a:gd name="T19" fmla="*/ 103536 h 223"/>
                  <a:gd name="T20" fmla="*/ 89161 w 292"/>
                  <a:gd name="T21" fmla="*/ 113787 h 223"/>
                  <a:gd name="T22" fmla="*/ 76113 w 292"/>
                  <a:gd name="T23" fmla="*/ 114300 h 223"/>
                  <a:gd name="T24" fmla="*/ 70024 w 292"/>
                  <a:gd name="T25" fmla="*/ 113787 h 223"/>
                  <a:gd name="T26" fmla="*/ 63500 w 292"/>
                  <a:gd name="T27" fmla="*/ 110712 h 223"/>
                  <a:gd name="T28" fmla="*/ 58281 w 292"/>
                  <a:gd name="T29" fmla="*/ 107124 h 223"/>
                  <a:gd name="T30" fmla="*/ 55236 w 292"/>
                  <a:gd name="T31" fmla="*/ 101486 h 223"/>
                  <a:gd name="T32" fmla="*/ 52627 w 292"/>
                  <a:gd name="T33" fmla="*/ 95848 h 223"/>
                  <a:gd name="T34" fmla="*/ 49147 w 292"/>
                  <a:gd name="T35" fmla="*/ 92260 h 223"/>
                  <a:gd name="T36" fmla="*/ 39579 w 292"/>
                  <a:gd name="T37" fmla="*/ 74321 h 223"/>
                  <a:gd name="T38" fmla="*/ 29575 w 292"/>
                  <a:gd name="T39" fmla="*/ 57919 h 223"/>
                  <a:gd name="T40" fmla="*/ 23921 w 292"/>
                  <a:gd name="T41" fmla="*/ 50743 h 223"/>
                  <a:gd name="T42" fmla="*/ 18267 w 292"/>
                  <a:gd name="T43" fmla="*/ 44592 h 223"/>
                  <a:gd name="T44" fmla="*/ 11743 w 292"/>
                  <a:gd name="T45" fmla="*/ 40492 h 223"/>
                  <a:gd name="T46" fmla="*/ 5654 w 292"/>
                  <a:gd name="T47" fmla="*/ 38442 h 223"/>
                  <a:gd name="T48" fmla="*/ 1740 w 292"/>
                  <a:gd name="T49" fmla="*/ 33316 h 223"/>
                  <a:gd name="T50" fmla="*/ 435 w 292"/>
                  <a:gd name="T51" fmla="*/ 29728 h 223"/>
                  <a:gd name="T52" fmla="*/ 0 w 292"/>
                  <a:gd name="T53" fmla="*/ 25115 h 223"/>
                  <a:gd name="T54" fmla="*/ 17397 w 292"/>
                  <a:gd name="T55" fmla="*/ 28191 h 223"/>
                  <a:gd name="T56" fmla="*/ 30445 w 292"/>
                  <a:gd name="T57" fmla="*/ 28191 h 223"/>
                  <a:gd name="T58" fmla="*/ 39579 w 292"/>
                  <a:gd name="T59" fmla="*/ 25628 h 223"/>
                  <a:gd name="T60" fmla="*/ 46103 w 292"/>
                  <a:gd name="T61" fmla="*/ 21015 h 223"/>
                  <a:gd name="T62" fmla="*/ 55236 w 292"/>
                  <a:gd name="T63" fmla="*/ 10251 h 223"/>
                  <a:gd name="T64" fmla="*/ 60021 w 292"/>
                  <a:gd name="T65" fmla="*/ 4613 h 223"/>
                  <a:gd name="T66" fmla="*/ 66110 w 292"/>
                  <a:gd name="T67" fmla="*/ 0 h 223"/>
                  <a:gd name="T68" fmla="*/ 74808 w 292"/>
                  <a:gd name="T69" fmla="*/ 7176 h 223"/>
                  <a:gd name="T70" fmla="*/ 84377 w 292"/>
                  <a:gd name="T71" fmla="*/ 13326 h 223"/>
                  <a:gd name="T72" fmla="*/ 94815 w 292"/>
                  <a:gd name="T73" fmla="*/ 17427 h 223"/>
                  <a:gd name="T74" fmla="*/ 106993 w 292"/>
                  <a:gd name="T75" fmla="*/ 18965 h 223"/>
                  <a:gd name="T76" fmla="*/ 113952 w 292"/>
                  <a:gd name="T77" fmla="*/ 17427 h 223"/>
                  <a:gd name="T78" fmla="*/ 121346 w 292"/>
                  <a:gd name="T79" fmla="*/ 15889 h 223"/>
                  <a:gd name="T80" fmla="*/ 123955 w 292"/>
                  <a:gd name="T81" fmla="*/ 24090 h 223"/>
                  <a:gd name="T82" fmla="*/ 124825 w 292"/>
                  <a:gd name="T83" fmla="*/ 25115 h 223"/>
                  <a:gd name="T84" fmla="*/ 127000 w 292"/>
                  <a:gd name="T85" fmla="*/ 35366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453">
                <a:extLst>
                  <a:ext uri="{FF2B5EF4-FFF2-40B4-BE49-F238E27FC236}">
                    <a16:creationId xmlns:a16="http://schemas.microsoft.com/office/drawing/2014/main" id="{BB1D54B8-9A87-4E0B-B7C9-5E50888EE546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3748614" y="3458029"/>
                <a:ext cx="535560" cy="202773"/>
              </a:xfrm>
              <a:custGeom>
                <a:avLst/>
                <a:gdLst>
                  <a:gd name="T0" fmla="*/ 166499 w 379"/>
                  <a:gd name="T1" fmla="*/ 49742 h 147"/>
                  <a:gd name="T2" fmla="*/ 159839 w 379"/>
                  <a:gd name="T3" fmla="*/ 53446 h 147"/>
                  <a:gd name="T4" fmla="*/ 157175 w 379"/>
                  <a:gd name="T5" fmla="*/ 57150 h 147"/>
                  <a:gd name="T6" fmla="*/ 154067 w 379"/>
                  <a:gd name="T7" fmla="*/ 61913 h 147"/>
                  <a:gd name="T8" fmla="*/ 147851 w 379"/>
                  <a:gd name="T9" fmla="*/ 67205 h 147"/>
                  <a:gd name="T10" fmla="*/ 142079 w 379"/>
                  <a:gd name="T11" fmla="*/ 69321 h 147"/>
                  <a:gd name="T12" fmla="*/ 138083 w 379"/>
                  <a:gd name="T13" fmla="*/ 69850 h 147"/>
                  <a:gd name="T14" fmla="*/ 133643 w 379"/>
                  <a:gd name="T15" fmla="*/ 68792 h 147"/>
                  <a:gd name="T16" fmla="*/ 129203 w 379"/>
                  <a:gd name="T17" fmla="*/ 66675 h 147"/>
                  <a:gd name="T18" fmla="*/ 124763 w 379"/>
                  <a:gd name="T19" fmla="*/ 62971 h 147"/>
                  <a:gd name="T20" fmla="*/ 122099 w 379"/>
                  <a:gd name="T21" fmla="*/ 61384 h 147"/>
                  <a:gd name="T22" fmla="*/ 119435 w 379"/>
                  <a:gd name="T23" fmla="*/ 62442 h 147"/>
                  <a:gd name="T24" fmla="*/ 118547 w 379"/>
                  <a:gd name="T25" fmla="*/ 65088 h 147"/>
                  <a:gd name="T26" fmla="*/ 118103 w 379"/>
                  <a:gd name="T27" fmla="*/ 74084 h 147"/>
                  <a:gd name="T28" fmla="*/ 114107 w 379"/>
                  <a:gd name="T29" fmla="*/ 76730 h 147"/>
                  <a:gd name="T30" fmla="*/ 108335 w 379"/>
                  <a:gd name="T31" fmla="*/ 74084 h 147"/>
                  <a:gd name="T32" fmla="*/ 101675 w 379"/>
                  <a:gd name="T33" fmla="*/ 69321 h 147"/>
                  <a:gd name="T34" fmla="*/ 50172 w 379"/>
                  <a:gd name="T35" fmla="*/ 74613 h 147"/>
                  <a:gd name="T36" fmla="*/ 35520 w 379"/>
                  <a:gd name="T37" fmla="*/ 65617 h 147"/>
                  <a:gd name="T38" fmla="*/ 25752 w 379"/>
                  <a:gd name="T39" fmla="*/ 57680 h 147"/>
                  <a:gd name="T40" fmla="*/ 19980 w 379"/>
                  <a:gd name="T41" fmla="*/ 49742 h 147"/>
                  <a:gd name="T42" fmla="*/ 16428 w 379"/>
                  <a:gd name="T43" fmla="*/ 43392 h 147"/>
                  <a:gd name="T44" fmla="*/ 11544 w 379"/>
                  <a:gd name="T45" fmla="*/ 31221 h 147"/>
                  <a:gd name="T46" fmla="*/ 7104 w 379"/>
                  <a:gd name="T47" fmla="*/ 25400 h 147"/>
                  <a:gd name="T48" fmla="*/ 0 w 379"/>
                  <a:gd name="T49" fmla="*/ 19050 h 147"/>
                  <a:gd name="T50" fmla="*/ 12876 w 379"/>
                  <a:gd name="T51" fmla="*/ 21167 h 147"/>
                  <a:gd name="T52" fmla="*/ 23088 w 379"/>
                  <a:gd name="T53" fmla="*/ 20108 h 147"/>
                  <a:gd name="T54" fmla="*/ 31968 w 379"/>
                  <a:gd name="T55" fmla="*/ 17463 h 147"/>
                  <a:gd name="T56" fmla="*/ 38628 w 379"/>
                  <a:gd name="T57" fmla="*/ 13229 h 147"/>
                  <a:gd name="T58" fmla="*/ 52836 w 379"/>
                  <a:gd name="T59" fmla="*/ 4233 h 147"/>
                  <a:gd name="T60" fmla="*/ 61272 w 379"/>
                  <a:gd name="T61" fmla="*/ 1058 h 147"/>
                  <a:gd name="T62" fmla="*/ 70596 w 379"/>
                  <a:gd name="T63" fmla="*/ 0 h 147"/>
                  <a:gd name="T64" fmla="*/ 88799 w 379"/>
                  <a:gd name="T65" fmla="*/ 12171 h 147"/>
                  <a:gd name="T66" fmla="*/ 108335 w 379"/>
                  <a:gd name="T67" fmla="*/ 23813 h 147"/>
                  <a:gd name="T68" fmla="*/ 129647 w 379"/>
                  <a:gd name="T69" fmla="*/ 35454 h 147"/>
                  <a:gd name="T70" fmla="*/ 147851 w 379"/>
                  <a:gd name="T71" fmla="*/ 42334 h 147"/>
                  <a:gd name="T72" fmla="*/ 157175 w 379"/>
                  <a:gd name="T73" fmla="*/ 45509 h 147"/>
                  <a:gd name="T74" fmla="*/ 168275 w 379"/>
                  <a:gd name="T75" fmla="*/ 48684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454">
                <a:extLst>
                  <a:ext uri="{FF2B5EF4-FFF2-40B4-BE49-F238E27FC236}">
                    <a16:creationId xmlns:a16="http://schemas.microsoft.com/office/drawing/2014/main" id="{37E3FF42-A5B1-459A-9473-7868D2BA28EC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3632408" y="3081454"/>
                <a:ext cx="95996" cy="157253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8103 h 67"/>
                  <a:gd name="T4" fmla="*/ 0 w 61"/>
                  <a:gd name="T5" fmla="*/ 16207 h 67"/>
                  <a:gd name="T6" fmla="*/ 494 w 61"/>
                  <a:gd name="T7" fmla="*/ 21609 h 67"/>
                  <a:gd name="T8" fmla="*/ 989 w 61"/>
                  <a:gd name="T9" fmla="*/ 27011 h 67"/>
                  <a:gd name="T10" fmla="*/ 1483 w 61"/>
                  <a:gd name="T11" fmla="*/ 32413 h 67"/>
                  <a:gd name="T12" fmla="*/ 2967 w 61"/>
                  <a:gd name="T13" fmla="*/ 37816 h 67"/>
                  <a:gd name="T14" fmla="*/ 5934 w 61"/>
                  <a:gd name="T15" fmla="*/ 49521 h 67"/>
                  <a:gd name="T16" fmla="*/ 10384 w 61"/>
                  <a:gd name="T17" fmla="*/ 60325 h 67"/>
                  <a:gd name="T18" fmla="*/ 13845 w 61"/>
                  <a:gd name="T19" fmla="*/ 58524 h 67"/>
                  <a:gd name="T20" fmla="*/ 17306 w 61"/>
                  <a:gd name="T21" fmla="*/ 54923 h 67"/>
                  <a:gd name="T22" fmla="*/ 20767 w 61"/>
                  <a:gd name="T23" fmla="*/ 52222 h 67"/>
                  <a:gd name="T24" fmla="*/ 23734 w 61"/>
                  <a:gd name="T25" fmla="*/ 47720 h 67"/>
                  <a:gd name="T26" fmla="*/ 26206 w 61"/>
                  <a:gd name="T27" fmla="*/ 42318 h 67"/>
                  <a:gd name="T28" fmla="*/ 28184 w 61"/>
                  <a:gd name="T29" fmla="*/ 36015 h 67"/>
                  <a:gd name="T30" fmla="*/ 29173 w 61"/>
                  <a:gd name="T31" fmla="*/ 28812 h 67"/>
                  <a:gd name="T32" fmla="*/ 30162 w 61"/>
                  <a:gd name="T33" fmla="*/ 21609 h 67"/>
                  <a:gd name="T34" fmla="*/ 26206 w 61"/>
                  <a:gd name="T35" fmla="*/ 12605 h 67"/>
                  <a:gd name="T36" fmla="*/ 20273 w 61"/>
                  <a:gd name="T37" fmla="*/ 0 h 67"/>
                  <a:gd name="T38" fmla="*/ 13845 w 61"/>
                  <a:gd name="T39" fmla="*/ 2701 h 67"/>
                  <a:gd name="T40" fmla="*/ 8900 w 61"/>
                  <a:gd name="T41" fmla="*/ 3601 h 67"/>
                  <a:gd name="T42" fmla="*/ 6428 w 61"/>
                  <a:gd name="T43" fmla="*/ 3601 h 67"/>
                  <a:gd name="T44" fmla="*/ 4945 w 61"/>
                  <a:gd name="T45" fmla="*/ 2701 h 67"/>
                  <a:gd name="T46" fmla="*/ 2967 w 61"/>
                  <a:gd name="T47" fmla="*/ 1801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39" name="Freeform 455">
                <a:extLst>
                  <a:ext uri="{FF2B5EF4-FFF2-40B4-BE49-F238E27FC236}">
                    <a16:creationId xmlns:a16="http://schemas.microsoft.com/office/drawing/2014/main" id="{8AE22048-4123-4BA2-8FCE-8221D9D956BB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3541463" y="3093867"/>
                <a:ext cx="80840" cy="153114"/>
              </a:xfrm>
              <a:custGeom>
                <a:avLst/>
                <a:gdLst>
                  <a:gd name="T0" fmla="*/ 0 w 60"/>
                  <a:gd name="T1" fmla="*/ 6408 h 55"/>
                  <a:gd name="T2" fmla="*/ 0 w 60"/>
                  <a:gd name="T3" fmla="*/ 25631 h 55"/>
                  <a:gd name="T4" fmla="*/ 2117 w 60"/>
                  <a:gd name="T5" fmla="*/ 34175 h 55"/>
                  <a:gd name="T6" fmla="*/ 4233 w 60"/>
                  <a:gd name="T7" fmla="*/ 42719 h 55"/>
                  <a:gd name="T8" fmla="*/ 6773 w 60"/>
                  <a:gd name="T9" fmla="*/ 48058 h 55"/>
                  <a:gd name="T10" fmla="*/ 8890 w 60"/>
                  <a:gd name="T11" fmla="*/ 52330 h 55"/>
                  <a:gd name="T12" fmla="*/ 11430 w 60"/>
                  <a:gd name="T13" fmla="*/ 55534 h 55"/>
                  <a:gd name="T14" fmla="*/ 13970 w 60"/>
                  <a:gd name="T15" fmla="*/ 57670 h 55"/>
                  <a:gd name="T16" fmla="*/ 16933 w 60"/>
                  <a:gd name="T17" fmla="*/ 58738 h 55"/>
                  <a:gd name="T18" fmla="*/ 19473 w 60"/>
                  <a:gd name="T19" fmla="*/ 58738 h 55"/>
                  <a:gd name="T20" fmla="*/ 22437 w 60"/>
                  <a:gd name="T21" fmla="*/ 55534 h 55"/>
                  <a:gd name="T22" fmla="*/ 25400 w 60"/>
                  <a:gd name="T23" fmla="*/ 52330 h 55"/>
                  <a:gd name="T24" fmla="*/ 21167 w 60"/>
                  <a:gd name="T25" fmla="*/ 36311 h 55"/>
                  <a:gd name="T26" fmla="*/ 17780 w 60"/>
                  <a:gd name="T27" fmla="*/ 23495 h 55"/>
                  <a:gd name="T28" fmla="*/ 16510 w 60"/>
                  <a:gd name="T29" fmla="*/ 18155 h 55"/>
                  <a:gd name="T30" fmla="*/ 14817 w 60"/>
                  <a:gd name="T31" fmla="*/ 12816 h 55"/>
                  <a:gd name="T32" fmla="*/ 14393 w 60"/>
                  <a:gd name="T33" fmla="*/ 6408 h 55"/>
                  <a:gd name="T34" fmla="*/ 13970 w 60"/>
                  <a:gd name="T35" fmla="*/ 0 h 55"/>
                  <a:gd name="T36" fmla="*/ 9737 w 60"/>
                  <a:gd name="T37" fmla="*/ 1068 h 55"/>
                  <a:gd name="T38" fmla="*/ 6350 w 60"/>
                  <a:gd name="T39" fmla="*/ 3204 h 55"/>
                  <a:gd name="T40" fmla="*/ 2963 w 60"/>
                  <a:gd name="T41" fmla="*/ 5340 h 55"/>
                  <a:gd name="T42" fmla="*/ 0 w 60"/>
                  <a:gd name="T43" fmla="*/ 6408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0" name="Freeform 456">
                <a:extLst>
                  <a:ext uri="{FF2B5EF4-FFF2-40B4-BE49-F238E27FC236}">
                    <a16:creationId xmlns:a16="http://schemas.microsoft.com/office/drawing/2014/main" id="{35147C8F-0382-4061-99D9-8BCCB0A47777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3445465" y="2953168"/>
                <a:ext cx="166734" cy="202773"/>
              </a:xfrm>
              <a:custGeom>
                <a:avLst/>
                <a:gdLst>
                  <a:gd name="T0" fmla="*/ 32306 w 120"/>
                  <a:gd name="T1" fmla="*/ 67802 h 148"/>
                  <a:gd name="T2" fmla="*/ 30560 w 120"/>
                  <a:gd name="T3" fmla="*/ 68853 h 148"/>
                  <a:gd name="T4" fmla="*/ 29250 w 120"/>
                  <a:gd name="T5" fmla="*/ 69378 h 148"/>
                  <a:gd name="T6" fmla="*/ 27940 w 120"/>
                  <a:gd name="T7" fmla="*/ 69904 h 148"/>
                  <a:gd name="T8" fmla="*/ 26194 w 120"/>
                  <a:gd name="T9" fmla="*/ 69904 h 148"/>
                  <a:gd name="T10" fmla="*/ 24448 w 120"/>
                  <a:gd name="T11" fmla="*/ 69904 h 148"/>
                  <a:gd name="T12" fmla="*/ 23138 w 120"/>
                  <a:gd name="T13" fmla="*/ 69378 h 148"/>
                  <a:gd name="T14" fmla="*/ 21828 w 120"/>
                  <a:gd name="T15" fmla="*/ 68853 h 148"/>
                  <a:gd name="T16" fmla="*/ 20519 w 120"/>
                  <a:gd name="T17" fmla="*/ 67802 h 148"/>
                  <a:gd name="T18" fmla="*/ 17899 w 120"/>
                  <a:gd name="T19" fmla="*/ 67276 h 148"/>
                  <a:gd name="T20" fmla="*/ 14843 w 120"/>
                  <a:gd name="T21" fmla="*/ 65699 h 148"/>
                  <a:gd name="T22" fmla="*/ 11351 w 120"/>
                  <a:gd name="T23" fmla="*/ 63071 h 148"/>
                  <a:gd name="T24" fmla="*/ 8295 w 120"/>
                  <a:gd name="T25" fmla="*/ 60443 h 148"/>
                  <a:gd name="T26" fmla="*/ 4802 w 120"/>
                  <a:gd name="T27" fmla="*/ 56764 h 148"/>
                  <a:gd name="T28" fmla="*/ 2619 w 120"/>
                  <a:gd name="T29" fmla="*/ 53085 h 148"/>
                  <a:gd name="T30" fmla="*/ 1310 w 120"/>
                  <a:gd name="T31" fmla="*/ 50983 h 148"/>
                  <a:gd name="T32" fmla="*/ 873 w 120"/>
                  <a:gd name="T33" fmla="*/ 49406 h 148"/>
                  <a:gd name="T34" fmla="*/ 437 w 120"/>
                  <a:gd name="T35" fmla="*/ 47304 h 148"/>
                  <a:gd name="T36" fmla="*/ 0 w 120"/>
                  <a:gd name="T37" fmla="*/ 45727 h 148"/>
                  <a:gd name="T38" fmla="*/ 873 w 120"/>
                  <a:gd name="T39" fmla="*/ 38368 h 148"/>
                  <a:gd name="T40" fmla="*/ 3493 w 120"/>
                  <a:gd name="T41" fmla="*/ 28908 h 148"/>
                  <a:gd name="T42" fmla="*/ 6112 w 120"/>
                  <a:gd name="T43" fmla="*/ 18396 h 148"/>
                  <a:gd name="T44" fmla="*/ 8731 w 120"/>
                  <a:gd name="T45" fmla="*/ 9461 h 148"/>
                  <a:gd name="T46" fmla="*/ 13970 w 120"/>
                  <a:gd name="T47" fmla="*/ 8935 h 148"/>
                  <a:gd name="T48" fmla="*/ 18336 w 120"/>
                  <a:gd name="T49" fmla="*/ 8410 h 148"/>
                  <a:gd name="T50" fmla="*/ 22265 w 120"/>
                  <a:gd name="T51" fmla="*/ 7358 h 148"/>
                  <a:gd name="T52" fmla="*/ 25321 w 120"/>
                  <a:gd name="T53" fmla="*/ 5782 h 148"/>
                  <a:gd name="T54" fmla="*/ 30560 w 120"/>
                  <a:gd name="T55" fmla="*/ 2628 h 148"/>
                  <a:gd name="T56" fmla="*/ 34925 w 120"/>
                  <a:gd name="T57" fmla="*/ 0 h 148"/>
                  <a:gd name="T58" fmla="*/ 37108 w 120"/>
                  <a:gd name="T59" fmla="*/ 1051 h 148"/>
                  <a:gd name="T60" fmla="*/ 40601 w 120"/>
                  <a:gd name="T61" fmla="*/ 3679 h 148"/>
                  <a:gd name="T62" fmla="*/ 42784 w 120"/>
                  <a:gd name="T63" fmla="*/ 5256 h 148"/>
                  <a:gd name="T64" fmla="*/ 44530 w 120"/>
                  <a:gd name="T65" fmla="*/ 6833 h 148"/>
                  <a:gd name="T66" fmla="*/ 46276 w 120"/>
                  <a:gd name="T67" fmla="*/ 8410 h 148"/>
                  <a:gd name="T68" fmla="*/ 46713 w 120"/>
                  <a:gd name="T69" fmla="*/ 9461 h 148"/>
                  <a:gd name="T70" fmla="*/ 43657 w 120"/>
                  <a:gd name="T71" fmla="*/ 14717 h 148"/>
                  <a:gd name="T72" fmla="*/ 40601 w 120"/>
                  <a:gd name="T73" fmla="*/ 19447 h 148"/>
                  <a:gd name="T74" fmla="*/ 41474 w 120"/>
                  <a:gd name="T75" fmla="*/ 22075 h 148"/>
                  <a:gd name="T76" fmla="*/ 42784 w 120"/>
                  <a:gd name="T77" fmla="*/ 25754 h 148"/>
                  <a:gd name="T78" fmla="*/ 44530 w 120"/>
                  <a:gd name="T79" fmla="*/ 29433 h 148"/>
                  <a:gd name="T80" fmla="*/ 46713 w 120"/>
                  <a:gd name="T81" fmla="*/ 33112 h 148"/>
                  <a:gd name="T82" fmla="*/ 50205 w 120"/>
                  <a:gd name="T83" fmla="*/ 39420 h 148"/>
                  <a:gd name="T84" fmla="*/ 52388 w 120"/>
                  <a:gd name="T85" fmla="*/ 41522 h 148"/>
                  <a:gd name="T86" fmla="*/ 49332 w 120"/>
                  <a:gd name="T87" fmla="*/ 42573 h 148"/>
                  <a:gd name="T88" fmla="*/ 46713 w 120"/>
                  <a:gd name="T89" fmla="*/ 44150 h 148"/>
                  <a:gd name="T90" fmla="*/ 43657 w 120"/>
                  <a:gd name="T91" fmla="*/ 45727 h 148"/>
                  <a:gd name="T92" fmla="*/ 41910 w 120"/>
                  <a:gd name="T93" fmla="*/ 47829 h 148"/>
                  <a:gd name="T94" fmla="*/ 39291 w 120"/>
                  <a:gd name="T95" fmla="*/ 49931 h 148"/>
                  <a:gd name="T96" fmla="*/ 37981 w 120"/>
                  <a:gd name="T97" fmla="*/ 52034 h 148"/>
                  <a:gd name="T98" fmla="*/ 35798 w 120"/>
                  <a:gd name="T99" fmla="*/ 54662 h 148"/>
                  <a:gd name="T100" fmla="*/ 34925 w 120"/>
                  <a:gd name="T101" fmla="*/ 57290 h 148"/>
                  <a:gd name="T102" fmla="*/ 34052 w 120"/>
                  <a:gd name="T103" fmla="*/ 59918 h 148"/>
                  <a:gd name="T104" fmla="*/ 33616 w 120"/>
                  <a:gd name="T105" fmla="*/ 63071 h 148"/>
                  <a:gd name="T106" fmla="*/ 33179 w 120"/>
                  <a:gd name="T107" fmla="*/ 65699 h 148"/>
                  <a:gd name="T108" fmla="*/ 32743 w 120"/>
                  <a:gd name="T109" fmla="*/ 68327 h 148"/>
                  <a:gd name="T110" fmla="*/ 33179 w 120"/>
                  <a:gd name="T111" fmla="*/ 70955 h 148"/>
                  <a:gd name="T112" fmla="*/ 33616 w 120"/>
                  <a:gd name="T113" fmla="*/ 73583 h 148"/>
                  <a:gd name="T114" fmla="*/ 34052 w 120"/>
                  <a:gd name="T115" fmla="*/ 75686 h 148"/>
                  <a:gd name="T116" fmla="*/ 34925 w 120"/>
                  <a:gd name="T117" fmla="*/ 77788 h 148"/>
                  <a:gd name="T118" fmla="*/ 32306 w 120"/>
                  <a:gd name="T119" fmla="*/ 67802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1" name="Freeform 458">
                <a:extLst>
                  <a:ext uri="{FF2B5EF4-FFF2-40B4-BE49-F238E27FC236}">
                    <a16:creationId xmlns:a16="http://schemas.microsoft.com/office/drawing/2014/main" id="{C2FB66E2-EDA1-45CC-BC6A-9138346370C0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3531358" y="4099453"/>
                <a:ext cx="55575" cy="148976"/>
              </a:xfrm>
              <a:custGeom>
                <a:avLst/>
                <a:gdLst>
                  <a:gd name="T0" fmla="*/ 3056 w 40"/>
                  <a:gd name="T1" fmla="*/ 19050 h 93"/>
                  <a:gd name="T2" fmla="*/ 4366 w 40"/>
                  <a:gd name="T3" fmla="*/ 18435 h 93"/>
                  <a:gd name="T4" fmla="*/ 6112 w 40"/>
                  <a:gd name="T5" fmla="*/ 15977 h 93"/>
                  <a:gd name="T6" fmla="*/ 8731 w 40"/>
                  <a:gd name="T7" fmla="*/ 12290 h 93"/>
                  <a:gd name="T8" fmla="*/ 10914 w 40"/>
                  <a:gd name="T9" fmla="*/ 9218 h 93"/>
                  <a:gd name="T10" fmla="*/ 15279 w 40"/>
                  <a:gd name="T11" fmla="*/ 2458 h 93"/>
                  <a:gd name="T12" fmla="*/ 17462 w 40"/>
                  <a:gd name="T13" fmla="*/ 0 h 93"/>
                  <a:gd name="T14" fmla="*/ 16152 w 40"/>
                  <a:gd name="T15" fmla="*/ 15977 h 93"/>
                  <a:gd name="T16" fmla="*/ 15279 w 40"/>
                  <a:gd name="T17" fmla="*/ 32569 h 93"/>
                  <a:gd name="T18" fmla="*/ 14843 w 40"/>
                  <a:gd name="T19" fmla="*/ 39944 h 93"/>
                  <a:gd name="T20" fmla="*/ 14843 w 40"/>
                  <a:gd name="T21" fmla="*/ 47318 h 93"/>
                  <a:gd name="T22" fmla="*/ 15279 w 40"/>
                  <a:gd name="T23" fmla="*/ 50390 h 93"/>
                  <a:gd name="T24" fmla="*/ 15716 w 40"/>
                  <a:gd name="T25" fmla="*/ 52848 h 93"/>
                  <a:gd name="T26" fmla="*/ 16152 w 40"/>
                  <a:gd name="T27" fmla="*/ 55306 h 93"/>
                  <a:gd name="T28" fmla="*/ 17462 w 40"/>
                  <a:gd name="T29" fmla="*/ 57150 h 93"/>
                  <a:gd name="T30" fmla="*/ 11350 w 40"/>
                  <a:gd name="T31" fmla="*/ 57150 h 93"/>
                  <a:gd name="T32" fmla="*/ 5675 w 40"/>
                  <a:gd name="T33" fmla="*/ 57150 h 93"/>
                  <a:gd name="T34" fmla="*/ 4802 w 40"/>
                  <a:gd name="T35" fmla="*/ 56535 h 93"/>
                  <a:gd name="T36" fmla="*/ 3492 w 40"/>
                  <a:gd name="T37" fmla="*/ 55921 h 93"/>
                  <a:gd name="T38" fmla="*/ 2619 w 40"/>
                  <a:gd name="T39" fmla="*/ 54077 h 93"/>
                  <a:gd name="T40" fmla="*/ 1746 w 40"/>
                  <a:gd name="T41" fmla="*/ 52848 h 93"/>
                  <a:gd name="T42" fmla="*/ 437 w 40"/>
                  <a:gd name="T43" fmla="*/ 49161 h 93"/>
                  <a:gd name="T44" fmla="*/ 0 w 40"/>
                  <a:gd name="T45" fmla="*/ 44860 h 93"/>
                  <a:gd name="T46" fmla="*/ 437 w 40"/>
                  <a:gd name="T47" fmla="*/ 39329 h 93"/>
                  <a:gd name="T48" fmla="*/ 1310 w 40"/>
                  <a:gd name="T49" fmla="*/ 30726 h 93"/>
                  <a:gd name="T50" fmla="*/ 2619 w 40"/>
                  <a:gd name="T51" fmla="*/ 22737 h 93"/>
                  <a:gd name="T52" fmla="*/ 3056 w 40"/>
                  <a:gd name="T53" fmla="*/ 19050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2" name="Freeform 459">
                <a:extLst>
                  <a:ext uri="{FF2B5EF4-FFF2-40B4-BE49-F238E27FC236}">
                    <a16:creationId xmlns:a16="http://schemas.microsoft.com/office/drawing/2014/main" id="{10563F1A-CF7D-48C7-B7DC-DFDA8E05B2AD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384447" y="3449753"/>
                <a:ext cx="939759" cy="711771"/>
              </a:xfrm>
              <a:custGeom>
                <a:avLst/>
                <a:gdLst>
                  <a:gd name="T0" fmla="*/ 66259 w 664"/>
                  <a:gd name="T1" fmla="*/ 234570 h 518"/>
                  <a:gd name="T2" fmla="*/ 67148 w 664"/>
                  <a:gd name="T3" fmla="*/ 227190 h 518"/>
                  <a:gd name="T4" fmla="*/ 64925 w 664"/>
                  <a:gd name="T5" fmla="*/ 210849 h 518"/>
                  <a:gd name="T6" fmla="*/ 67148 w 664"/>
                  <a:gd name="T7" fmla="*/ 186075 h 518"/>
                  <a:gd name="T8" fmla="*/ 64925 w 664"/>
                  <a:gd name="T9" fmla="*/ 157083 h 518"/>
                  <a:gd name="T10" fmla="*/ 59589 w 664"/>
                  <a:gd name="T11" fmla="*/ 132308 h 518"/>
                  <a:gd name="T12" fmla="*/ 48471 w 664"/>
                  <a:gd name="T13" fmla="*/ 127037 h 518"/>
                  <a:gd name="T14" fmla="*/ 8894 w 664"/>
                  <a:gd name="T15" fmla="*/ 101208 h 518"/>
                  <a:gd name="T16" fmla="*/ 10673 w 664"/>
                  <a:gd name="T17" fmla="*/ 90138 h 518"/>
                  <a:gd name="T18" fmla="*/ 16009 w 664"/>
                  <a:gd name="T19" fmla="*/ 83813 h 518"/>
                  <a:gd name="T20" fmla="*/ 21345 w 664"/>
                  <a:gd name="T21" fmla="*/ 78014 h 518"/>
                  <a:gd name="T22" fmla="*/ 44469 w 664"/>
                  <a:gd name="T23" fmla="*/ 81704 h 518"/>
                  <a:gd name="T24" fmla="*/ 55586 w 664"/>
                  <a:gd name="T25" fmla="*/ 80123 h 518"/>
                  <a:gd name="T26" fmla="*/ 65370 w 664"/>
                  <a:gd name="T27" fmla="*/ 82758 h 518"/>
                  <a:gd name="T28" fmla="*/ 73374 w 664"/>
                  <a:gd name="T29" fmla="*/ 49550 h 518"/>
                  <a:gd name="T30" fmla="*/ 82268 w 664"/>
                  <a:gd name="T31" fmla="*/ 57456 h 518"/>
                  <a:gd name="T32" fmla="*/ 92051 w 664"/>
                  <a:gd name="T33" fmla="*/ 57984 h 518"/>
                  <a:gd name="T34" fmla="*/ 104947 w 664"/>
                  <a:gd name="T35" fmla="*/ 52185 h 518"/>
                  <a:gd name="T36" fmla="*/ 117398 w 664"/>
                  <a:gd name="T37" fmla="*/ 42170 h 518"/>
                  <a:gd name="T38" fmla="*/ 128516 w 664"/>
                  <a:gd name="T39" fmla="*/ 30046 h 518"/>
                  <a:gd name="T40" fmla="*/ 136965 w 664"/>
                  <a:gd name="T41" fmla="*/ 16868 h 518"/>
                  <a:gd name="T42" fmla="*/ 141412 w 664"/>
                  <a:gd name="T43" fmla="*/ 6325 h 518"/>
                  <a:gd name="T44" fmla="*/ 164536 w 664"/>
                  <a:gd name="T45" fmla="*/ 2108 h 518"/>
                  <a:gd name="T46" fmla="*/ 179655 w 664"/>
                  <a:gd name="T47" fmla="*/ 16868 h 518"/>
                  <a:gd name="T48" fmla="*/ 203224 w 664"/>
                  <a:gd name="T49" fmla="*/ 32155 h 518"/>
                  <a:gd name="T50" fmla="*/ 227237 w 664"/>
                  <a:gd name="T51" fmla="*/ 47441 h 518"/>
                  <a:gd name="T52" fmla="*/ 245470 w 664"/>
                  <a:gd name="T53" fmla="*/ 56402 h 518"/>
                  <a:gd name="T54" fmla="*/ 257032 w 664"/>
                  <a:gd name="T55" fmla="*/ 61146 h 518"/>
                  <a:gd name="T56" fmla="*/ 277043 w 664"/>
                  <a:gd name="T57" fmla="*/ 63782 h 518"/>
                  <a:gd name="T58" fmla="*/ 292607 w 664"/>
                  <a:gd name="T59" fmla="*/ 71689 h 518"/>
                  <a:gd name="T60" fmla="*/ 286826 w 664"/>
                  <a:gd name="T61" fmla="*/ 87503 h 518"/>
                  <a:gd name="T62" fmla="*/ 275709 w 664"/>
                  <a:gd name="T63" fmla="*/ 124401 h 518"/>
                  <a:gd name="T64" fmla="*/ 265925 w 664"/>
                  <a:gd name="T65" fmla="*/ 143378 h 518"/>
                  <a:gd name="T66" fmla="*/ 260144 w 664"/>
                  <a:gd name="T67" fmla="*/ 150757 h 518"/>
                  <a:gd name="T68" fmla="*/ 266370 w 664"/>
                  <a:gd name="T69" fmla="*/ 157083 h 518"/>
                  <a:gd name="T70" fmla="*/ 274819 w 664"/>
                  <a:gd name="T71" fmla="*/ 161827 h 518"/>
                  <a:gd name="T72" fmla="*/ 277043 w 664"/>
                  <a:gd name="T73" fmla="*/ 176059 h 518"/>
                  <a:gd name="T74" fmla="*/ 275709 w 664"/>
                  <a:gd name="T75" fmla="*/ 182912 h 518"/>
                  <a:gd name="T76" fmla="*/ 274819 w 664"/>
                  <a:gd name="T77" fmla="*/ 196090 h 518"/>
                  <a:gd name="T78" fmla="*/ 276598 w 664"/>
                  <a:gd name="T79" fmla="*/ 210322 h 518"/>
                  <a:gd name="T80" fmla="*/ 281045 w 664"/>
                  <a:gd name="T81" fmla="*/ 222973 h 518"/>
                  <a:gd name="T82" fmla="*/ 270372 w 664"/>
                  <a:gd name="T83" fmla="*/ 240895 h 518"/>
                  <a:gd name="T84" fmla="*/ 253029 w 664"/>
                  <a:gd name="T85" fmla="*/ 255128 h 518"/>
                  <a:gd name="T86" fmla="*/ 241023 w 664"/>
                  <a:gd name="T87" fmla="*/ 257763 h 518"/>
                  <a:gd name="T88" fmla="*/ 226348 w 664"/>
                  <a:gd name="T89" fmla="*/ 253546 h 518"/>
                  <a:gd name="T90" fmla="*/ 212118 w 664"/>
                  <a:gd name="T91" fmla="*/ 242477 h 518"/>
                  <a:gd name="T92" fmla="*/ 205892 w 664"/>
                  <a:gd name="T93" fmla="*/ 240368 h 518"/>
                  <a:gd name="T94" fmla="*/ 196998 w 664"/>
                  <a:gd name="T95" fmla="*/ 240895 h 518"/>
                  <a:gd name="T96" fmla="*/ 188104 w 664"/>
                  <a:gd name="T97" fmla="*/ 245112 h 518"/>
                  <a:gd name="T98" fmla="*/ 180545 w 664"/>
                  <a:gd name="T99" fmla="*/ 251438 h 518"/>
                  <a:gd name="T100" fmla="*/ 172540 w 664"/>
                  <a:gd name="T101" fmla="*/ 265143 h 518"/>
                  <a:gd name="T102" fmla="*/ 171206 w 664"/>
                  <a:gd name="T103" fmla="*/ 272523 h 518"/>
                  <a:gd name="T104" fmla="*/ 148082 w 664"/>
                  <a:gd name="T105" fmla="*/ 271469 h 518"/>
                  <a:gd name="T106" fmla="*/ 140967 w 664"/>
                  <a:gd name="T107" fmla="*/ 267252 h 518"/>
                  <a:gd name="T108" fmla="*/ 136520 w 664"/>
                  <a:gd name="T109" fmla="*/ 263562 h 518"/>
                  <a:gd name="T110" fmla="*/ 131629 w 664"/>
                  <a:gd name="T111" fmla="*/ 267779 h 518"/>
                  <a:gd name="T112" fmla="*/ 127626 w 664"/>
                  <a:gd name="T113" fmla="*/ 271996 h 518"/>
                  <a:gd name="T114" fmla="*/ 119177 w 664"/>
                  <a:gd name="T115" fmla="*/ 271996 h 518"/>
                  <a:gd name="T116" fmla="*/ 100945 w 664"/>
                  <a:gd name="T117" fmla="*/ 266725 h 518"/>
                  <a:gd name="T118" fmla="*/ 82268 w 664"/>
                  <a:gd name="T119" fmla="*/ 256709 h 518"/>
                  <a:gd name="T120" fmla="*/ 71151 w 664"/>
                  <a:gd name="T121" fmla="*/ 247221 h 518"/>
                  <a:gd name="T122" fmla="*/ 64925 w 664"/>
                  <a:gd name="T123" fmla="*/ 237206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3" name="Freeform 461">
                <a:extLst>
                  <a:ext uri="{FF2B5EF4-FFF2-40B4-BE49-F238E27FC236}">
                    <a16:creationId xmlns:a16="http://schemas.microsoft.com/office/drawing/2014/main" id="{08D9CF44-BBBC-4126-9B5F-761C99F53F26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390277" y="4219459"/>
                <a:ext cx="469878" cy="451066"/>
              </a:xfrm>
              <a:custGeom>
                <a:avLst/>
                <a:gdLst>
                  <a:gd name="T0" fmla="*/ 102588 w 331"/>
                  <a:gd name="T1" fmla="*/ 21167 h 327"/>
                  <a:gd name="T2" fmla="*/ 86084 w 331"/>
                  <a:gd name="T3" fmla="*/ 29633 h 327"/>
                  <a:gd name="T4" fmla="*/ 81178 w 331"/>
                  <a:gd name="T5" fmla="*/ 35454 h 327"/>
                  <a:gd name="T6" fmla="*/ 80732 w 331"/>
                  <a:gd name="T7" fmla="*/ 42863 h 327"/>
                  <a:gd name="T8" fmla="*/ 82070 w 331"/>
                  <a:gd name="T9" fmla="*/ 49742 h 327"/>
                  <a:gd name="T10" fmla="*/ 78948 w 331"/>
                  <a:gd name="T11" fmla="*/ 53975 h 327"/>
                  <a:gd name="T12" fmla="*/ 74934 w 331"/>
                  <a:gd name="T13" fmla="*/ 55563 h 327"/>
                  <a:gd name="T14" fmla="*/ 71365 w 331"/>
                  <a:gd name="T15" fmla="*/ 51858 h 327"/>
                  <a:gd name="T16" fmla="*/ 66459 w 331"/>
                  <a:gd name="T17" fmla="*/ 44979 h 327"/>
                  <a:gd name="T18" fmla="*/ 56200 w 331"/>
                  <a:gd name="T19" fmla="*/ 39158 h 327"/>
                  <a:gd name="T20" fmla="*/ 56646 w 331"/>
                  <a:gd name="T21" fmla="*/ 50800 h 327"/>
                  <a:gd name="T22" fmla="*/ 61999 w 331"/>
                  <a:gd name="T23" fmla="*/ 61384 h 327"/>
                  <a:gd name="T24" fmla="*/ 68689 w 331"/>
                  <a:gd name="T25" fmla="*/ 68263 h 327"/>
                  <a:gd name="T26" fmla="*/ 70919 w 331"/>
                  <a:gd name="T27" fmla="*/ 68792 h 327"/>
                  <a:gd name="T28" fmla="*/ 70919 w 331"/>
                  <a:gd name="T29" fmla="*/ 93663 h 327"/>
                  <a:gd name="T30" fmla="*/ 70919 w 331"/>
                  <a:gd name="T31" fmla="*/ 125413 h 327"/>
                  <a:gd name="T32" fmla="*/ 69581 w 331"/>
                  <a:gd name="T33" fmla="*/ 132821 h 327"/>
                  <a:gd name="T34" fmla="*/ 65567 w 331"/>
                  <a:gd name="T35" fmla="*/ 137055 h 327"/>
                  <a:gd name="T36" fmla="*/ 64675 w 331"/>
                  <a:gd name="T37" fmla="*/ 139700 h 327"/>
                  <a:gd name="T38" fmla="*/ 72257 w 331"/>
                  <a:gd name="T39" fmla="*/ 146050 h 327"/>
                  <a:gd name="T40" fmla="*/ 74488 w 331"/>
                  <a:gd name="T41" fmla="*/ 151342 h 327"/>
                  <a:gd name="T42" fmla="*/ 69135 w 331"/>
                  <a:gd name="T43" fmla="*/ 156105 h 327"/>
                  <a:gd name="T44" fmla="*/ 62445 w 331"/>
                  <a:gd name="T45" fmla="*/ 157163 h 327"/>
                  <a:gd name="T46" fmla="*/ 57984 w 331"/>
                  <a:gd name="T47" fmla="*/ 162455 h 327"/>
                  <a:gd name="T48" fmla="*/ 56200 w 331"/>
                  <a:gd name="T49" fmla="*/ 169863 h 327"/>
                  <a:gd name="T50" fmla="*/ 53970 w 331"/>
                  <a:gd name="T51" fmla="*/ 158750 h 327"/>
                  <a:gd name="T52" fmla="*/ 55308 w 331"/>
                  <a:gd name="T53" fmla="*/ 152400 h 327"/>
                  <a:gd name="T54" fmla="*/ 48618 w 331"/>
                  <a:gd name="T55" fmla="*/ 151342 h 327"/>
                  <a:gd name="T56" fmla="*/ 41481 w 331"/>
                  <a:gd name="T57" fmla="*/ 154517 h 327"/>
                  <a:gd name="T58" fmla="*/ 35237 w 331"/>
                  <a:gd name="T59" fmla="*/ 156634 h 327"/>
                  <a:gd name="T60" fmla="*/ 32560 w 331"/>
                  <a:gd name="T61" fmla="*/ 128059 h 327"/>
                  <a:gd name="T62" fmla="*/ 35237 w 331"/>
                  <a:gd name="T63" fmla="*/ 114300 h 327"/>
                  <a:gd name="T64" fmla="*/ 21410 w 331"/>
                  <a:gd name="T65" fmla="*/ 111654 h 327"/>
                  <a:gd name="T66" fmla="*/ 12489 w 331"/>
                  <a:gd name="T67" fmla="*/ 104775 h 327"/>
                  <a:gd name="T68" fmla="*/ 5798 w 331"/>
                  <a:gd name="T69" fmla="*/ 91546 h 327"/>
                  <a:gd name="T70" fmla="*/ 0 w 331"/>
                  <a:gd name="T71" fmla="*/ 68792 h 327"/>
                  <a:gd name="T72" fmla="*/ 12489 w 331"/>
                  <a:gd name="T73" fmla="*/ 58738 h 327"/>
                  <a:gd name="T74" fmla="*/ 22302 w 331"/>
                  <a:gd name="T75" fmla="*/ 42863 h 327"/>
                  <a:gd name="T76" fmla="*/ 32560 w 331"/>
                  <a:gd name="T77" fmla="*/ 29104 h 327"/>
                  <a:gd name="T78" fmla="*/ 51294 w 331"/>
                  <a:gd name="T79" fmla="*/ 21696 h 327"/>
                  <a:gd name="T80" fmla="*/ 80286 w 331"/>
                  <a:gd name="T81" fmla="*/ 7408 h 327"/>
                  <a:gd name="T82" fmla="*/ 97235 w 331"/>
                  <a:gd name="T83" fmla="*/ 3704 h 327"/>
                  <a:gd name="T84" fmla="*/ 111062 w 331"/>
                  <a:gd name="T85" fmla="*/ 7408 h 327"/>
                  <a:gd name="T86" fmla="*/ 120875 w 331"/>
                  <a:gd name="T87" fmla="*/ 14288 h 327"/>
                  <a:gd name="T88" fmla="*/ 130242 w 331"/>
                  <a:gd name="T89" fmla="*/ 15875 h 327"/>
                  <a:gd name="T90" fmla="*/ 136932 w 331"/>
                  <a:gd name="T91" fmla="*/ 10583 h 327"/>
                  <a:gd name="T92" fmla="*/ 145853 w 331"/>
                  <a:gd name="T93" fmla="*/ 3175 h 327"/>
                  <a:gd name="T94" fmla="*/ 147191 w 331"/>
                  <a:gd name="T95" fmla="*/ 16933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4" name="Freeform 462">
                <a:extLst>
                  <a:ext uri="{FF2B5EF4-FFF2-40B4-BE49-F238E27FC236}">
                    <a16:creationId xmlns:a16="http://schemas.microsoft.com/office/drawing/2014/main" id="{B7062B35-7A65-422D-9DCF-FC0C3169624C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658056" y="4720183"/>
                <a:ext cx="222309" cy="148976"/>
              </a:xfrm>
              <a:custGeom>
                <a:avLst/>
                <a:gdLst>
                  <a:gd name="T0" fmla="*/ 0 w 153"/>
                  <a:gd name="T1" fmla="*/ 0 h 49"/>
                  <a:gd name="T2" fmla="*/ 20088 w 153"/>
                  <a:gd name="T3" fmla="*/ 2333 h 49"/>
                  <a:gd name="T4" fmla="*/ 37892 w 153"/>
                  <a:gd name="T5" fmla="*/ 6998 h 49"/>
                  <a:gd name="T6" fmla="*/ 47023 w 153"/>
                  <a:gd name="T7" fmla="*/ 9331 h 49"/>
                  <a:gd name="T8" fmla="*/ 55241 w 153"/>
                  <a:gd name="T9" fmla="*/ 8164 h 49"/>
                  <a:gd name="T10" fmla="*/ 59350 w 153"/>
                  <a:gd name="T11" fmla="*/ 6998 h 49"/>
                  <a:gd name="T12" fmla="*/ 62545 w 153"/>
                  <a:gd name="T13" fmla="*/ 5832 h 49"/>
                  <a:gd name="T14" fmla="*/ 66198 w 153"/>
                  <a:gd name="T15" fmla="*/ 3499 h 49"/>
                  <a:gd name="T16" fmla="*/ 69850 w 153"/>
                  <a:gd name="T17" fmla="*/ 0 h 49"/>
                  <a:gd name="T18" fmla="*/ 69850 w 153"/>
                  <a:gd name="T19" fmla="*/ 10497 h 49"/>
                  <a:gd name="T20" fmla="*/ 69850 w 153"/>
                  <a:gd name="T21" fmla="*/ 29158 h 49"/>
                  <a:gd name="T22" fmla="*/ 65285 w 153"/>
                  <a:gd name="T23" fmla="*/ 36156 h 49"/>
                  <a:gd name="T24" fmla="*/ 60719 w 153"/>
                  <a:gd name="T25" fmla="*/ 41988 h 49"/>
                  <a:gd name="T26" fmla="*/ 56610 w 153"/>
                  <a:gd name="T27" fmla="*/ 46653 h 49"/>
                  <a:gd name="T28" fmla="*/ 52045 w 153"/>
                  <a:gd name="T29" fmla="*/ 51318 h 49"/>
                  <a:gd name="T30" fmla="*/ 48393 w 153"/>
                  <a:gd name="T31" fmla="*/ 53651 h 49"/>
                  <a:gd name="T32" fmla="*/ 45197 w 153"/>
                  <a:gd name="T33" fmla="*/ 55984 h 49"/>
                  <a:gd name="T34" fmla="*/ 42001 w 153"/>
                  <a:gd name="T35" fmla="*/ 57150 h 49"/>
                  <a:gd name="T36" fmla="*/ 39719 w 153"/>
                  <a:gd name="T37" fmla="*/ 57150 h 49"/>
                  <a:gd name="T38" fmla="*/ 32871 w 153"/>
                  <a:gd name="T39" fmla="*/ 55984 h 49"/>
                  <a:gd name="T40" fmla="*/ 27392 w 153"/>
                  <a:gd name="T41" fmla="*/ 53651 h 49"/>
                  <a:gd name="T42" fmla="*/ 22827 w 153"/>
                  <a:gd name="T43" fmla="*/ 50152 h 49"/>
                  <a:gd name="T44" fmla="*/ 18718 w 153"/>
                  <a:gd name="T45" fmla="*/ 44320 h 49"/>
                  <a:gd name="T46" fmla="*/ 10044 w 153"/>
                  <a:gd name="T47" fmla="*/ 33823 h 49"/>
                  <a:gd name="T48" fmla="*/ 0 w 153"/>
                  <a:gd name="T49" fmla="*/ 22160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5" name="Freeform 469">
                <a:extLst>
                  <a:ext uri="{FF2B5EF4-FFF2-40B4-BE49-F238E27FC236}">
                    <a16:creationId xmlns:a16="http://schemas.microsoft.com/office/drawing/2014/main" id="{112D0678-78FF-4F29-8331-67CC7AEA972E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284174" y="2920063"/>
                <a:ext cx="515351" cy="173804"/>
              </a:xfrm>
              <a:custGeom>
                <a:avLst/>
                <a:gdLst>
                  <a:gd name="T0" fmla="*/ 109409 w 370"/>
                  <a:gd name="T1" fmla="*/ 60473 h 129"/>
                  <a:gd name="T2" fmla="*/ 112910 w 370"/>
                  <a:gd name="T3" fmla="*/ 61506 h 129"/>
                  <a:gd name="T4" fmla="*/ 121225 w 370"/>
                  <a:gd name="T5" fmla="*/ 63574 h 129"/>
                  <a:gd name="T6" fmla="*/ 129102 w 370"/>
                  <a:gd name="T7" fmla="*/ 65641 h 129"/>
                  <a:gd name="T8" fmla="*/ 132603 w 370"/>
                  <a:gd name="T9" fmla="*/ 66675 h 129"/>
                  <a:gd name="T10" fmla="*/ 161925 w 370"/>
                  <a:gd name="T11" fmla="*/ 50135 h 129"/>
                  <a:gd name="T12" fmla="*/ 156673 w 370"/>
                  <a:gd name="T13" fmla="*/ 38765 h 129"/>
                  <a:gd name="T14" fmla="*/ 150984 w 370"/>
                  <a:gd name="T15" fmla="*/ 24809 h 129"/>
                  <a:gd name="T16" fmla="*/ 146608 w 370"/>
                  <a:gd name="T17" fmla="*/ 13955 h 129"/>
                  <a:gd name="T18" fmla="*/ 144420 w 370"/>
                  <a:gd name="T19" fmla="*/ 9303 h 129"/>
                  <a:gd name="T20" fmla="*/ 131291 w 370"/>
                  <a:gd name="T21" fmla="*/ 7753 h 129"/>
                  <a:gd name="T22" fmla="*/ 112472 w 370"/>
                  <a:gd name="T23" fmla="*/ 4652 h 129"/>
                  <a:gd name="T24" fmla="*/ 93654 w 370"/>
                  <a:gd name="T25" fmla="*/ 1034 h 129"/>
                  <a:gd name="T26" fmla="*/ 80087 w 370"/>
                  <a:gd name="T27" fmla="*/ 0 h 129"/>
                  <a:gd name="T28" fmla="*/ 78337 w 370"/>
                  <a:gd name="T29" fmla="*/ 0 h 129"/>
                  <a:gd name="T30" fmla="*/ 77024 w 370"/>
                  <a:gd name="T31" fmla="*/ 517 h 129"/>
                  <a:gd name="T32" fmla="*/ 75273 w 370"/>
                  <a:gd name="T33" fmla="*/ 1034 h 129"/>
                  <a:gd name="T34" fmla="*/ 74398 w 370"/>
                  <a:gd name="T35" fmla="*/ 1551 h 129"/>
                  <a:gd name="T36" fmla="*/ 70897 w 370"/>
                  <a:gd name="T37" fmla="*/ 3618 h 129"/>
                  <a:gd name="T38" fmla="*/ 65645 w 370"/>
                  <a:gd name="T39" fmla="*/ 6202 h 129"/>
                  <a:gd name="T40" fmla="*/ 64332 w 370"/>
                  <a:gd name="T41" fmla="*/ 10854 h 129"/>
                  <a:gd name="T42" fmla="*/ 61269 w 370"/>
                  <a:gd name="T43" fmla="*/ 18090 h 129"/>
                  <a:gd name="T44" fmla="*/ 58643 w 370"/>
                  <a:gd name="T45" fmla="*/ 24809 h 129"/>
                  <a:gd name="T46" fmla="*/ 57330 w 370"/>
                  <a:gd name="T47" fmla="*/ 28427 h 129"/>
                  <a:gd name="T48" fmla="*/ 53391 w 370"/>
                  <a:gd name="T49" fmla="*/ 27910 h 129"/>
                  <a:gd name="T50" fmla="*/ 48578 w 370"/>
                  <a:gd name="T51" fmla="*/ 25326 h 129"/>
                  <a:gd name="T52" fmla="*/ 42888 w 370"/>
                  <a:gd name="T53" fmla="*/ 22742 h 129"/>
                  <a:gd name="T54" fmla="*/ 36761 w 370"/>
                  <a:gd name="T55" fmla="*/ 19641 h 129"/>
                  <a:gd name="T56" fmla="*/ 26258 w 370"/>
                  <a:gd name="T57" fmla="*/ 13438 h 129"/>
                  <a:gd name="T58" fmla="*/ 19256 w 370"/>
                  <a:gd name="T59" fmla="*/ 9303 h 129"/>
                  <a:gd name="T60" fmla="*/ 14004 w 370"/>
                  <a:gd name="T61" fmla="*/ 12922 h 129"/>
                  <a:gd name="T62" fmla="*/ 9190 w 370"/>
                  <a:gd name="T63" fmla="*/ 17056 h 129"/>
                  <a:gd name="T64" fmla="*/ 7002 w 370"/>
                  <a:gd name="T65" fmla="*/ 19124 h 129"/>
                  <a:gd name="T66" fmla="*/ 5252 w 370"/>
                  <a:gd name="T67" fmla="*/ 21191 h 129"/>
                  <a:gd name="T68" fmla="*/ 3939 w 370"/>
                  <a:gd name="T69" fmla="*/ 23776 h 129"/>
                  <a:gd name="T70" fmla="*/ 2188 w 370"/>
                  <a:gd name="T71" fmla="*/ 26877 h 129"/>
                  <a:gd name="T72" fmla="*/ 1313 w 370"/>
                  <a:gd name="T73" fmla="*/ 29461 h 129"/>
                  <a:gd name="T74" fmla="*/ 438 w 370"/>
                  <a:gd name="T75" fmla="*/ 32562 h 129"/>
                  <a:gd name="T76" fmla="*/ 0 w 370"/>
                  <a:gd name="T77" fmla="*/ 35663 h 129"/>
                  <a:gd name="T78" fmla="*/ 0 w 370"/>
                  <a:gd name="T79" fmla="*/ 38765 h 129"/>
                  <a:gd name="T80" fmla="*/ 438 w 370"/>
                  <a:gd name="T81" fmla="*/ 42383 h 129"/>
                  <a:gd name="T82" fmla="*/ 1313 w 370"/>
                  <a:gd name="T83" fmla="*/ 45484 h 129"/>
                  <a:gd name="T84" fmla="*/ 2626 w 370"/>
                  <a:gd name="T85" fmla="*/ 49619 h 129"/>
                  <a:gd name="T86" fmla="*/ 4814 w 370"/>
                  <a:gd name="T87" fmla="*/ 53237 h 129"/>
                  <a:gd name="T88" fmla="*/ 8753 w 370"/>
                  <a:gd name="T89" fmla="*/ 52203 h 129"/>
                  <a:gd name="T90" fmla="*/ 14442 w 370"/>
                  <a:gd name="T91" fmla="*/ 51169 h 129"/>
                  <a:gd name="T92" fmla="*/ 21882 w 370"/>
                  <a:gd name="T93" fmla="*/ 50135 h 129"/>
                  <a:gd name="T94" fmla="*/ 30197 w 370"/>
                  <a:gd name="T95" fmla="*/ 49102 h 129"/>
                  <a:gd name="T96" fmla="*/ 44639 w 370"/>
                  <a:gd name="T97" fmla="*/ 47551 h 129"/>
                  <a:gd name="T98" fmla="*/ 51203 w 370"/>
                  <a:gd name="T99" fmla="*/ 47034 h 129"/>
                  <a:gd name="T100" fmla="*/ 59956 w 370"/>
                  <a:gd name="T101" fmla="*/ 47551 h 129"/>
                  <a:gd name="T102" fmla="*/ 66521 w 370"/>
                  <a:gd name="T103" fmla="*/ 48585 h 129"/>
                  <a:gd name="T104" fmla="*/ 72647 w 370"/>
                  <a:gd name="T105" fmla="*/ 50135 h 129"/>
                  <a:gd name="T106" fmla="*/ 77461 w 370"/>
                  <a:gd name="T107" fmla="*/ 51686 h 129"/>
                  <a:gd name="T108" fmla="*/ 82713 w 370"/>
                  <a:gd name="T109" fmla="*/ 53753 h 129"/>
                  <a:gd name="T110" fmla="*/ 87965 w 370"/>
                  <a:gd name="T111" fmla="*/ 55821 h 129"/>
                  <a:gd name="T112" fmla="*/ 94967 w 370"/>
                  <a:gd name="T113" fmla="*/ 56855 h 129"/>
                  <a:gd name="T114" fmla="*/ 103720 w 370"/>
                  <a:gd name="T115" fmla="*/ 57372 h 129"/>
                  <a:gd name="T116" fmla="*/ 103720 w 370"/>
                  <a:gd name="T117" fmla="*/ 60473 h 129"/>
                  <a:gd name="T118" fmla="*/ 109409 w 370"/>
                  <a:gd name="T119" fmla="*/ 60473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6" name="Freeform 473">
                <a:extLst>
                  <a:ext uri="{FF2B5EF4-FFF2-40B4-BE49-F238E27FC236}">
                    <a16:creationId xmlns:a16="http://schemas.microsoft.com/office/drawing/2014/main" id="{47EE53E4-5F3B-4D17-AE12-FFD6DA3FD94A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344415" y="3528380"/>
                <a:ext cx="60631" cy="157253"/>
              </a:xfrm>
              <a:custGeom>
                <a:avLst/>
                <a:gdLst>
                  <a:gd name="T0" fmla="*/ 0 w 46"/>
                  <a:gd name="T1" fmla="*/ 30163 h 50"/>
                  <a:gd name="T2" fmla="*/ 828 w 46"/>
                  <a:gd name="T3" fmla="*/ 21717 h 50"/>
                  <a:gd name="T4" fmla="*/ 414 w 46"/>
                  <a:gd name="T5" fmla="*/ 16891 h 50"/>
                  <a:gd name="T6" fmla="*/ 828 w 46"/>
                  <a:gd name="T7" fmla="*/ 15685 h 50"/>
                  <a:gd name="T8" fmla="*/ 1242 w 46"/>
                  <a:gd name="T9" fmla="*/ 15685 h 50"/>
                  <a:gd name="T10" fmla="*/ 2485 w 46"/>
                  <a:gd name="T11" fmla="*/ 14478 h 50"/>
                  <a:gd name="T12" fmla="*/ 5384 w 46"/>
                  <a:gd name="T13" fmla="*/ 14478 h 50"/>
                  <a:gd name="T14" fmla="*/ 19050 w 46"/>
                  <a:gd name="T15" fmla="*/ 0 h 50"/>
                  <a:gd name="T16" fmla="*/ 19050 w 46"/>
                  <a:gd name="T17" fmla="*/ 60325 h 50"/>
                  <a:gd name="T18" fmla="*/ 16565 w 46"/>
                  <a:gd name="T19" fmla="*/ 59119 h 50"/>
                  <a:gd name="T20" fmla="*/ 13666 w 46"/>
                  <a:gd name="T21" fmla="*/ 54293 h 50"/>
                  <a:gd name="T22" fmla="*/ 10353 w 46"/>
                  <a:gd name="T23" fmla="*/ 49467 h 50"/>
                  <a:gd name="T24" fmla="*/ 7040 w 46"/>
                  <a:gd name="T25" fmla="*/ 44641 h 50"/>
                  <a:gd name="T26" fmla="*/ 2071 w 46"/>
                  <a:gd name="T27" fmla="*/ 33782 h 50"/>
                  <a:gd name="T28" fmla="*/ 0 w 46"/>
                  <a:gd name="T29" fmla="*/ 30163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7" name="Freeform 519">
                <a:extLst>
                  <a:ext uri="{FF2B5EF4-FFF2-40B4-BE49-F238E27FC236}">
                    <a16:creationId xmlns:a16="http://schemas.microsoft.com/office/drawing/2014/main" id="{C39D65CA-252F-4D10-B9C5-2592E19F420F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233650" y="3118696"/>
                <a:ext cx="151573" cy="153114"/>
              </a:xfrm>
              <a:custGeom>
                <a:avLst/>
                <a:gdLst>
                  <a:gd name="T0" fmla="*/ 15716 w 100"/>
                  <a:gd name="T1" fmla="*/ 0 h 55"/>
                  <a:gd name="T2" fmla="*/ 47625 w 100"/>
                  <a:gd name="T3" fmla="*/ 12816 h 55"/>
                  <a:gd name="T4" fmla="*/ 47625 w 100"/>
                  <a:gd name="T5" fmla="*/ 58738 h 55"/>
                  <a:gd name="T6" fmla="*/ 6191 w 100"/>
                  <a:gd name="T7" fmla="*/ 58738 h 55"/>
                  <a:gd name="T8" fmla="*/ 0 w 100"/>
                  <a:gd name="T9" fmla="*/ 45922 h 55"/>
                  <a:gd name="T10" fmla="*/ 476 w 100"/>
                  <a:gd name="T11" fmla="*/ 40583 h 55"/>
                  <a:gd name="T12" fmla="*/ 1905 w 100"/>
                  <a:gd name="T13" fmla="*/ 34175 h 55"/>
                  <a:gd name="T14" fmla="*/ 4763 w 100"/>
                  <a:gd name="T15" fmla="*/ 26699 h 55"/>
                  <a:gd name="T16" fmla="*/ 7620 w 100"/>
                  <a:gd name="T17" fmla="*/ 19223 h 55"/>
                  <a:gd name="T18" fmla="*/ 12859 w 100"/>
                  <a:gd name="T19" fmla="*/ 5340 h 55"/>
                  <a:gd name="T20" fmla="*/ 15716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8" name="Freeform 528">
                <a:extLst>
                  <a:ext uri="{FF2B5EF4-FFF2-40B4-BE49-F238E27FC236}">
                    <a16:creationId xmlns:a16="http://schemas.microsoft.com/office/drawing/2014/main" id="{E3792E08-C775-4B1F-8781-44AD029B5BF1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948184" y="3801501"/>
                <a:ext cx="181890" cy="148976"/>
              </a:xfrm>
              <a:custGeom>
                <a:avLst/>
                <a:gdLst>
                  <a:gd name="T0" fmla="*/ 57150 w 146"/>
                  <a:gd name="T1" fmla="*/ 12700 h 81"/>
                  <a:gd name="T2" fmla="*/ 54018 w 146"/>
                  <a:gd name="T3" fmla="*/ 16933 h 81"/>
                  <a:gd name="T4" fmla="*/ 50887 w 146"/>
                  <a:gd name="T5" fmla="*/ 20461 h 81"/>
                  <a:gd name="T6" fmla="*/ 48147 w 146"/>
                  <a:gd name="T7" fmla="*/ 24694 h 81"/>
                  <a:gd name="T8" fmla="*/ 46190 w 146"/>
                  <a:gd name="T9" fmla="*/ 28928 h 81"/>
                  <a:gd name="T10" fmla="*/ 42275 w 146"/>
                  <a:gd name="T11" fmla="*/ 37394 h 81"/>
                  <a:gd name="T12" fmla="*/ 38361 w 146"/>
                  <a:gd name="T13" fmla="*/ 45156 h 81"/>
                  <a:gd name="T14" fmla="*/ 36404 w 146"/>
                  <a:gd name="T15" fmla="*/ 48683 h 81"/>
                  <a:gd name="T16" fmla="*/ 33272 w 146"/>
                  <a:gd name="T17" fmla="*/ 51506 h 81"/>
                  <a:gd name="T18" fmla="*/ 29749 w 146"/>
                  <a:gd name="T19" fmla="*/ 54328 h 81"/>
                  <a:gd name="T20" fmla="*/ 25835 w 146"/>
                  <a:gd name="T21" fmla="*/ 56444 h 81"/>
                  <a:gd name="T22" fmla="*/ 20746 w 146"/>
                  <a:gd name="T23" fmla="*/ 57150 h 81"/>
                  <a:gd name="T24" fmla="*/ 15266 w 146"/>
                  <a:gd name="T25" fmla="*/ 56444 h 81"/>
                  <a:gd name="T26" fmla="*/ 8220 w 146"/>
                  <a:gd name="T27" fmla="*/ 54328 h 81"/>
                  <a:gd name="T28" fmla="*/ 0 w 146"/>
                  <a:gd name="T29" fmla="*/ 52211 h 81"/>
                  <a:gd name="T30" fmla="*/ 0 w 146"/>
                  <a:gd name="T31" fmla="*/ 43744 h 81"/>
                  <a:gd name="T32" fmla="*/ 0 w 146"/>
                  <a:gd name="T33" fmla="*/ 34572 h 81"/>
                  <a:gd name="T34" fmla="*/ 0 w 146"/>
                  <a:gd name="T35" fmla="*/ 23989 h 81"/>
                  <a:gd name="T36" fmla="*/ 0 w 146"/>
                  <a:gd name="T37" fmla="*/ 12700 h 81"/>
                  <a:gd name="T38" fmla="*/ 5480 w 146"/>
                  <a:gd name="T39" fmla="*/ 12700 h 81"/>
                  <a:gd name="T40" fmla="*/ 8612 w 146"/>
                  <a:gd name="T41" fmla="*/ 12700 h 81"/>
                  <a:gd name="T42" fmla="*/ 12135 w 146"/>
                  <a:gd name="T43" fmla="*/ 12700 h 81"/>
                  <a:gd name="T44" fmla="*/ 15658 w 146"/>
                  <a:gd name="T45" fmla="*/ 12700 h 81"/>
                  <a:gd name="T46" fmla="*/ 20355 w 146"/>
                  <a:gd name="T47" fmla="*/ 12700 h 81"/>
                  <a:gd name="T48" fmla="*/ 24661 w 146"/>
                  <a:gd name="T49" fmla="*/ 11289 h 81"/>
                  <a:gd name="T50" fmla="*/ 28575 w 146"/>
                  <a:gd name="T51" fmla="*/ 9878 h 81"/>
                  <a:gd name="T52" fmla="*/ 32489 w 146"/>
                  <a:gd name="T53" fmla="*/ 7761 h 81"/>
                  <a:gd name="T54" fmla="*/ 39535 w 146"/>
                  <a:gd name="T55" fmla="*/ 3528 h 81"/>
                  <a:gd name="T56" fmla="*/ 46973 w 146"/>
                  <a:gd name="T57" fmla="*/ 0 h 81"/>
                  <a:gd name="T58" fmla="*/ 50496 w 146"/>
                  <a:gd name="T59" fmla="*/ 2822 h 81"/>
                  <a:gd name="T60" fmla="*/ 52844 w 146"/>
                  <a:gd name="T61" fmla="*/ 6350 h 81"/>
                  <a:gd name="T62" fmla="*/ 55193 w 146"/>
                  <a:gd name="T63" fmla="*/ 9878 h 81"/>
                  <a:gd name="T64" fmla="*/ 57150 w 146"/>
                  <a:gd name="T65" fmla="*/ 1270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49" name="Freeform 529">
                <a:extLst>
                  <a:ext uri="{FF2B5EF4-FFF2-40B4-BE49-F238E27FC236}">
                    <a16:creationId xmlns:a16="http://schemas.microsoft.com/office/drawing/2014/main" id="{F22AB5C5-3F2C-40F0-A132-A2AA0CCFAF12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096846" y="4356021"/>
                <a:ext cx="50524" cy="148976"/>
              </a:xfrm>
              <a:custGeom>
                <a:avLst/>
                <a:gdLst>
                  <a:gd name="T0" fmla="*/ 15875 w 34"/>
                  <a:gd name="T1" fmla="*/ 57150 h 49"/>
                  <a:gd name="T2" fmla="*/ 15875 w 34"/>
                  <a:gd name="T3" fmla="*/ 39655 h 49"/>
                  <a:gd name="T4" fmla="*/ 15875 w 34"/>
                  <a:gd name="T5" fmla="*/ 29158 h 49"/>
                  <a:gd name="T6" fmla="*/ 15408 w 34"/>
                  <a:gd name="T7" fmla="*/ 24493 h 49"/>
                  <a:gd name="T8" fmla="*/ 15408 w 34"/>
                  <a:gd name="T9" fmla="*/ 19828 h 49"/>
                  <a:gd name="T10" fmla="*/ 14474 w 34"/>
                  <a:gd name="T11" fmla="*/ 17495 h 49"/>
                  <a:gd name="T12" fmla="*/ 14007 w 34"/>
                  <a:gd name="T13" fmla="*/ 13996 h 49"/>
                  <a:gd name="T14" fmla="*/ 11673 w 34"/>
                  <a:gd name="T15" fmla="*/ 9331 h 49"/>
                  <a:gd name="T16" fmla="*/ 9805 w 34"/>
                  <a:gd name="T17" fmla="*/ 0 h 49"/>
                  <a:gd name="T18" fmla="*/ 3735 w 34"/>
                  <a:gd name="T19" fmla="*/ 0 h 49"/>
                  <a:gd name="T20" fmla="*/ 0 w 34"/>
                  <a:gd name="T21" fmla="*/ 0 h 49"/>
                  <a:gd name="T22" fmla="*/ 1401 w 34"/>
                  <a:gd name="T23" fmla="*/ 12830 h 49"/>
                  <a:gd name="T24" fmla="*/ 3268 w 34"/>
                  <a:gd name="T25" fmla="*/ 23327 h 49"/>
                  <a:gd name="T26" fmla="*/ 4669 w 34"/>
                  <a:gd name="T27" fmla="*/ 31491 h 49"/>
                  <a:gd name="T28" fmla="*/ 6537 w 34"/>
                  <a:gd name="T29" fmla="*/ 39655 h 49"/>
                  <a:gd name="T30" fmla="*/ 8871 w 34"/>
                  <a:gd name="T31" fmla="*/ 45487 h 49"/>
                  <a:gd name="T32" fmla="*/ 11206 w 34"/>
                  <a:gd name="T33" fmla="*/ 50152 h 49"/>
                  <a:gd name="T34" fmla="*/ 13540 w 34"/>
                  <a:gd name="T35" fmla="*/ 53651 h 49"/>
                  <a:gd name="T36" fmla="*/ 15875 w 34"/>
                  <a:gd name="T37" fmla="*/ 57150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0" name="Freeform 536">
                <a:extLst>
                  <a:ext uri="{FF2B5EF4-FFF2-40B4-BE49-F238E27FC236}">
                    <a16:creationId xmlns:a16="http://schemas.microsoft.com/office/drawing/2014/main" id="{CB04D3CE-A89B-4DA0-88A5-CF91F752A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4055" y="4350558"/>
                <a:ext cx="16926" cy="12316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537">
                <a:extLst>
                  <a:ext uri="{FF2B5EF4-FFF2-40B4-BE49-F238E27FC236}">
                    <a16:creationId xmlns:a16="http://schemas.microsoft.com/office/drawing/2014/main" id="{59A00D93-C30C-44E1-9EC1-B4F7AA9562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2151" y="4621545"/>
                <a:ext cx="42313" cy="12316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538">
                <a:extLst>
                  <a:ext uri="{FF2B5EF4-FFF2-40B4-BE49-F238E27FC236}">
                    <a16:creationId xmlns:a16="http://schemas.microsoft.com/office/drawing/2014/main" id="{476A6A06-17DC-4F34-8305-DC3736C3A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2543" y="4666708"/>
                <a:ext cx="16926" cy="32847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539">
                <a:extLst>
                  <a:ext uri="{FF2B5EF4-FFF2-40B4-BE49-F238E27FC236}">
                    <a16:creationId xmlns:a16="http://schemas.microsoft.com/office/drawing/2014/main" id="{E3D96340-96EA-40BC-88CC-059C9315C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5603" y="4198639"/>
                <a:ext cx="143862" cy="94434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540">
                <a:extLst>
                  <a:ext uri="{FF2B5EF4-FFF2-40B4-BE49-F238E27FC236}">
                    <a16:creationId xmlns:a16="http://schemas.microsoft.com/office/drawing/2014/main" id="{50598C3B-F5F3-494C-AF4D-D0B32D25E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4008" y="4221088"/>
                <a:ext cx="1008112" cy="504056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/>
              </a:p>
            </p:txBody>
          </p:sp>
          <p:sp>
            <p:nvSpPr>
              <p:cNvPr id="155" name="Freeform 353">
                <a:extLst>
                  <a:ext uri="{FF2B5EF4-FFF2-40B4-BE49-F238E27FC236}">
                    <a16:creationId xmlns:a16="http://schemas.microsoft.com/office/drawing/2014/main" id="{77A81B81-B2F0-4CD3-BD78-0261CD153A12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253860" y="3855297"/>
                <a:ext cx="343568" cy="388992"/>
              </a:xfrm>
              <a:custGeom>
                <a:avLst/>
                <a:gdLst>
                  <a:gd name="T0" fmla="*/ 13165 w 246"/>
                  <a:gd name="T1" fmla="*/ 14187 h 284"/>
                  <a:gd name="T2" fmla="*/ 12287 w 246"/>
                  <a:gd name="T3" fmla="*/ 12611 h 284"/>
                  <a:gd name="T4" fmla="*/ 10532 w 246"/>
                  <a:gd name="T5" fmla="*/ 8932 h 284"/>
                  <a:gd name="T6" fmla="*/ 15359 w 246"/>
                  <a:gd name="T7" fmla="*/ 2627 h 284"/>
                  <a:gd name="T8" fmla="*/ 29401 w 246"/>
                  <a:gd name="T9" fmla="*/ 525 h 284"/>
                  <a:gd name="T10" fmla="*/ 55291 w 246"/>
                  <a:gd name="T11" fmla="*/ 6305 h 284"/>
                  <a:gd name="T12" fmla="*/ 57486 w 246"/>
                  <a:gd name="T13" fmla="*/ 15763 h 284"/>
                  <a:gd name="T14" fmla="*/ 60996 w 246"/>
                  <a:gd name="T15" fmla="*/ 24170 h 284"/>
                  <a:gd name="T16" fmla="*/ 66262 w 246"/>
                  <a:gd name="T17" fmla="*/ 29950 h 284"/>
                  <a:gd name="T18" fmla="*/ 72405 w 246"/>
                  <a:gd name="T19" fmla="*/ 35204 h 284"/>
                  <a:gd name="T20" fmla="*/ 83815 w 246"/>
                  <a:gd name="T21" fmla="*/ 45713 h 284"/>
                  <a:gd name="T22" fmla="*/ 89081 w 246"/>
                  <a:gd name="T23" fmla="*/ 53069 h 284"/>
                  <a:gd name="T24" fmla="*/ 93030 w 246"/>
                  <a:gd name="T25" fmla="*/ 61476 h 284"/>
                  <a:gd name="T26" fmla="*/ 99174 w 246"/>
                  <a:gd name="T27" fmla="*/ 61476 h 284"/>
                  <a:gd name="T28" fmla="*/ 96979 w 246"/>
                  <a:gd name="T29" fmla="*/ 65155 h 284"/>
                  <a:gd name="T30" fmla="*/ 96979 w 246"/>
                  <a:gd name="T31" fmla="*/ 67782 h 284"/>
                  <a:gd name="T32" fmla="*/ 100051 w 246"/>
                  <a:gd name="T33" fmla="*/ 73562 h 284"/>
                  <a:gd name="T34" fmla="*/ 104878 w 246"/>
                  <a:gd name="T35" fmla="*/ 80918 h 284"/>
                  <a:gd name="T36" fmla="*/ 107072 w 246"/>
                  <a:gd name="T37" fmla="*/ 85121 h 284"/>
                  <a:gd name="T38" fmla="*/ 107950 w 246"/>
                  <a:gd name="T39" fmla="*/ 90901 h 284"/>
                  <a:gd name="T40" fmla="*/ 105756 w 246"/>
                  <a:gd name="T41" fmla="*/ 96681 h 284"/>
                  <a:gd name="T42" fmla="*/ 102245 w 246"/>
                  <a:gd name="T43" fmla="*/ 100885 h 284"/>
                  <a:gd name="T44" fmla="*/ 97857 w 246"/>
                  <a:gd name="T45" fmla="*/ 104037 h 284"/>
                  <a:gd name="T46" fmla="*/ 96541 w 246"/>
                  <a:gd name="T47" fmla="*/ 107190 h 284"/>
                  <a:gd name="T48" fmla="*/ 82937 w 246"/>
                  <a:gd name="T49" fmla="*/ 112970 h 284"/>
                  <a:gd name="T50" fmla="*/ 71967 w 246"/>
                  <a:gd name="T51" fmla="*/ 120851 h 284"/>
                  <a:gd name="T52" fmla="*/ 49587 w 246"/>
                  <a:gd name="T53" fmla="*/ 139242 h 284"/>
                  <a:gd name="T54" fmla="*/ 38616 w 246"/>
                  <a:gd name="T55" fmla="*/ 121377 h 284"/>
                  <a:gd name="T56" fmla="*/ 34667 w 246"/>
                  <a:gd name="T57" fmla="*/ 115597 h 284"/>
                  <a:gd name="T58" fmla="*/ 31595 w 246"/>
                  <a:gd name="T59" fmla="*/ 113495 h 284"/>
                  <a:gd name="T60" fmla="*/ 26329 w 246"/>
                  <a:gd name="T61" fmla="*/ 114021 h 284"/>
                  <a:gd name="T62" fmla="*/ 23696 w 246"/>
                  <a:gd name="T63" fmla="*/ 116122 h 284"/>
                  <a:gd name="T64" fmla="*/ 21502 w 246"/>
                  <a:gd name="T65" fmla="*/ 119800 h 284"/>
                  <a:gd name="T66" fmla="*/ 21063 w 246"/>
                  <a:gd name="T67" fmla="*/ 124004 h 284"/>
                  <a:gd name="T68" fmla="*/ 19747 w 246"/>
                  <a:gd name="T69" fmla="*/ 135038 h 284"/>
                  <a:gd name="T70" fmla="*/ 17992 w 246"/>
                  <a:gd name="T71" fmla="*/ 141869 h 284"/>
                  <a:gd name="T72" fmla="*/ 14481 w 246"/>
                  <a:gd name="T73" fmla="*/ 149225 h 284"/>
                  <a:gd name="T74" fmla="*/ 11409 w 246"/>
                  <a:gd name="T75" fmla="*/ 127682 h 284"/>
                  <a:gd name="T76" fmla="*/ 7460 w 246"/>
                  <a:gd name="T77" fmla="*/ 119275 h 284"/>
                  <a:gd name="T78" fmla="*/ 4827 w 246"/>
                  <a:gd name="T79" fmla="*/ 116122 h 284"/>
                  <a:gd name="T80" fmla="*/ 0 w 246"/>
                  <a:gd name="T81" fmla="*/ 113495 h 284"/>
                  <a:gd name="T82" fmla="*/ 439 w 246"/>
                  <a:gd name="T83" fmla="*/ 107190 h 284"/>
                  <a:gd name="T84" fmla="*/ 1755 w 246"/>
                  <a:gd name="T85" fmla="*/ 101410 h 284"/>
                  <a:gd name="T86" fmla="*/ 6582 w 246"/>
                  <a:gd name="T87" fmla="*/ 92477 h 284"/>
                  <a:gd name="T88" fmla="*/ 13603 w 246"/>
                  <a:gd name="T89" fmla="*/ 84596 h 284"/>
                  <a:gd name="T90" fmla="*/ 20186 w 246"/>
                  <a:gd name="T91" fmla="*/ 74087 h 284"/>
                  <a:gd name="T92" fmla="*/ 14481 w 246"/>
                  <a:gd name="T93" fmla="*/ 23119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472">
                <a:extLst>
                  <a:ext uri="{FF2B5EF4-FFF2-40B4-BE49-F238E27FC236}">
                    <a16:creationId xmlns:a16="http://schemas.microsoft.com/office/drawing/2014/main" id="{A934E251-1AD4-4611-B1D0-6616A1FDA861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4279123" y="3044209"/>
                <a:ext cx="419352" cy="219326"/>
              </a:xfrm>
              <a:custGeom>
                <a:avLst/>
                <a:gdLst>
                  <a:gd name="T0" fmla="*/ 81084 w 312"/>
                  <a:gd name="T1" fmla="*/ 84138 h 155"/>
                  <a:gd name="T2" fmla="*/ 81929 w 312"/>
                  <a:gd name="T3" fmla="*/ 81967 h 155"/>
                  <a:gd name="T4" fmla="*/ 83196 w 312"/>
                  <a:gd name="T5" fmla="*/ 80338 h 155"/>
                  <a:gd name="T6" fmla="*/ 84463 w 312"/>
                  <a:gd name="T7" fmla="*/ 78710 h 155"/>
                  <a:gd name="T8" fmla="*/ 85730 w 312"/>
                  <a:gd name="T9" fmla="*/ 77081 h 155"/>
                  <a:gd name="T10" fmla="*/ 89108 w 312"/>
                  <a:gd name="T11" fmla="*/ 74367 h 155"/>
                  <a:gd name="T12" fmla="*/ 92909 w 312"/>
                  <a:gd name="T13" fmla="*/ 71653 h 155"/>
                  <a:gd name="T14" fmla="*/ 100511 w 312"/>
                  <a:gd name="T15" fmla="*/ 66768 h 155"/>
                  <a:gd name="T16" fmla="*/ 106845 w 312"/>
                  <a:gd name="T17" fmla="*/ 63511 h 155"/>
                  <a:gd name="T18" fmla="*/ 107690 w 312"/>
                  <a:gd name="T19" fmla="*/ 59168 h 155"/>
                  <a:gd name="T20" fmla="*/ 109802 w 312"/>
                  <a:gd name="T21" fmla="*/ 52654 h 155"/>
                  <a:gd name="T22" fmla="*/ 111491 w 312"/>
                  <a:gd name="T23" fmla="*/ 49397 h 155"/>
                  <a:gd name="T24" fmla="*/ 112758 w 312"/>
                  <a:gd name="T25" fmla="*/ 46683 h 155"/>
                  <a:gd name="T26" fmla="*/ 113602 w 312"/>
                  <a:gd name="T27" fmla="*/ 44512 h 155"/>
                  <a:gd name="T28" fmla="*/ 114869 w 312"/>
                  <a:gd name="T29" fmla="*/ 43969 h 155"/>
                  <a:gd name="T30" fmla="*/ 131762 w 312"/>
                  <a:gd name="T31" fmla="*/ 23884 h 155"/>
                  <a:gd name="T32" fmla="*/ 131762 w 312"/>
                  <a:gd name="T33" fmla="*/ 21170 h 155"/>
                  <a:gd name="T34" fmla="*/ 130917 w 312"/>
                  <a:gd name="T35" fmla="*/ 18999 h 155"/>
                  <a:gd name="T36" fmla="*/ 129228 w 312"/>
                  <a:gd name="T37" fmla="*/ 17370 h 155"/>
                  <a:gd name="T38" fmla="*/ 127539 w 312"/>
                  <a:gd name="T39" fmla="*/ 16285 h 155"/>
                  <a:gd name="T40" fmla="*/ 122893 w 312"/>
                  <a:gd name="T41" fmla="*/ 15199 h 155"/>
                  <a:gd name="T42" fmla="*/ 118248 w 312"/>
                  <a:gd name="T43" fmla="*/ 14656 h 155"/>
                  <a:gd name="T44" fmla="*/ 113180 w 312"/>
                  <a:gd name="T45" fmla="*/ 14656 h 155"/>
                  <a:gd name="T46" fmla="*/ 109379 w 312"/>
                  <a:gd name="T47" fmla="*/ 14656 h 155"/>
                  <a:gd name="T48" fmla="*/ 108112 w 312"/>
                  <a:gd name="T49" fmla="*/ 14113 h 155"/>
                  <a:gd name="T50" fmla="*/ 106845 w 312"/>
                  <a:gd name="T51" fmla="*/ 13571 h 155"/>
                  <a:gd name="T52" fmla="*/ 106423 w 312"/>
                  <a:gd name="T53" fmla="*/ 12485 h 155"/>
                  <a:gd name="T54" fmla="*/ 106845 w 312"/>
                  <a:gd name="T55" fmla="*/ 10857 h 155"/>
                  <a:gd name="T56" fmla="*/ 97977 w 312"/>
                  <a:gd name="T57" fmla="*/ 10314 h 155"/>
                  <a:gd name="T58" fmla="*/ 91220 w 312"/>
                  <a:gd name="T59" fmla="*/ 9228 h 155"/>
                  <a:gd name="T60" fmla="*/ 85307 w 312"/>
                  <a:gd name="T61" fmla="*/ 7057 h 155"/>
                  <a:gd name="T62" fmla="*/ 79817 w 312"/>
                  <a:gd name="T63" fmla="*/ 4885 h 155"/>
                  <a:gd name="T64" fmla="*/ 74750 w 312"/>
                  <a:gd name="T65" fmla="*/ 3257 h 155"/>
                  <a:gd name="T66" fmla="*/ 68837 w 312"/>
                  <a:gd name="T67" fmla="*/ 1628 h 155"/>
                  <a:gd name="T68" fmla="*/ 61658 w 312"/>
                  <a:gd name="T69" fmla="*/ 543 h 155"/>
                  <a:gd name="T70" fmla="*/ 53212 w 312"/>
                  <a:gd name="T71" fmla="*/ 0 h 155"/>
                  <a:gd name="T72" fmla="*/ 46455 w 312"/>
                  <a:gd name="T73" fmla="*/ 543 h 155"/>
                  <a:gd name="T74" fmla="*/ 31251 w 312"/>
                  <a:gd name="T75" fmla="*/ 2171 h 155"/>
                  <a:gd name="T76" fmla="*/ 22383 w 312"/>
                  <a:gd name="T77" fmla="*/ 3257 h 155"/>
                  <a:gd name="T78" fmla="*/ 14359 w 312"/>
                  <a:gd name="T79" fmla="*/ 4343 h 155"/>
                  <a:gd name="T80" fmla="*/ 7602 w 312"/>
                  <a:gd name="T81" fmla="*/ 5428 h 155"/>
                  <a:gd name="T82" fmla="*/ 2956 w 312"/>
                  <a:gd name="T83" fmla="*/ 6514 h 155"/>
                  <a:gd name="T84" fmla="*/ 3801 w 312"/>
                  <a:gd name="T85" fmla="*/ 9228 h 155"/>
                  <a:gd name="T86" fmla="*/ 4645 w 312"/>
                  <a:gd name="T87" fmla="*/ 10314 h 155"/>
                  <a:gd name="T88" fmla="*/ 5490 w 312"/>
                  <a:gd name="T89" fmla="*/ 10314 h 155"/>
                  <a:gd name="T90" fmla="*/ 6335 w 312"/>
                  <a:gd name="T91" fmla="*/ 10857 h 155"/>
                  <a:gd name="T92" fmla="*/ 7602 w 312"/>
                  <a:gd name="T93" fmla="*/ 10857 h 155"/>
                  <a:gd name="T94" fmla="*/ 8024 w 312"/>
                  <a:gd name="T95" fmla="*/ 10857 h 155"/>
                  <a:gd name="T96" fmla="*/ 8446 w 312"/>
                  <a:gd name="T97" fmla="*/ 11942 h 155"/>
                  <a:gd name="T98" fmla="*/ 8446 w 312"/>
                  <a:gd name="T99" fmla="*/ 14113 h 155"/>
                  <a:gd name="T100" fmla="*/ 8446 w 312"/>
                  <a:gd name="T101" fmla="*/ 16285 h 155"/>
                  <a:gd name="T102" fmla="*/ 8024 w 312"/>
                  <a:gd name="T103" fmla="*/ 18999 h 155"/>
                  <a:gd name="T104" fmla="*/ 7602 w 312"/>
                  <a:gd name="T105" fmla="*/ 21170 h 155"/>
                  <a:gd name="T106" fmla="*/ 6335 w 312"/>
                  <a:gd name="T107" fmla="*/ 22799 h 155"/>
                  <a:gd name="T108" fmla="*/ 5068 w 312"/>
                  <a:gd name="T109" fmla="*/ 24427 h 155"/>
                  <a:gd name="T110" fmla="*/ 3801 w 312"/>
                  <a:gd name="T111" fmla="*/ 26056 h 155"/>
                  <a:gd name="T112" fmla="*/ 1689 w 312"/>
                  <a:gd name="T113" fmla="*/ 26598 h 155"/>
                  <a:gd name="T114" fmla="*/ 0 w 312"/>
                  <a:gd name="T115" fmla="*/ 27141 h 155"/>
                  <a:gd name="T116" fmla="*/ 31251 w 312"/>
                  <a:gd name="T117" fmla="*/ 36912 h 155"/>
                  <a:gd name="T118" fmla="*/ 36741 w 312"/>
                  <a:gd name="T119" fmla="*/ 60254 h 155"/>
                  <a:gd name="T120" fmla="*/ 70104 w 312"/>
                  <a:gd name="T121" fmla="*/ 66768 h 155"/>
                  <a:gd name="T122" fmla="*/ 81084 w 312"/>
                  <a:gd name="T123" fmla="*/ 84138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Freeform 342">
                <a:extLst>
                  <a:ext uri="{FF2B5EF4-FFF2-40B4-BE49-F238E27FC236}">
                    <a16:creationId xmlns:a16="http://schemas.microsoft.com/office/drawing/2014/main" id="{382CFB5E-5136-4943-B144-CAEC8E65A8B8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3879978" y="3147666"/>
                <a:ext cx="702294" cy="463479"/>
              </a:xfrm>
              <a:custGeom>
                <a:avLst/>
                <a:gdLst>
                  <a:gd name="T0" fmla="*/ 118852 w 505"/>
                  <a:gd name="T1" fmla="*/ 18881 h 339"/>
                  <a:gd name="T2" fmla="*/ 211487 w 505"/>
                  <a:gd name="T3" fmla="*/ 45106 h 339"/>
                  <a:gd name="T4" fmla="*/ 208865 w 505"/>
                  <a:gd name="T5" fmla="*/ 57169 h 339"/>
                  <a:gd name="T6" fmla="*/ 205806 w 505"/>
                  <a:gd name="T7" fmla="*/ 67658 h 339"/>
                  <a:gd name="T8" fmla="*/ 201437 w 505"/>
                  <a:gd name="T9" fmla="*/ 76050 h 339"/>
                  <a:gd name="T10" fmla="*/ 197067 w 505"/>
                  <a:gd name="T11" fmla="*/ 80246 h 339"/>
                  <a:gd name="T12" fmla="*/ 201437 w 505"/>
                  <a:gd name="T13" fmla="*/ 96505 h 339"/>
                  <a:gd name="T14" fmla="*/ 208428 w 505"/>
                  <a:gd name="T15" fmla="*/ 112764 h 339"/>
                  <a:gd name="T16" fmla="*/ 220663 w 505"/>
                  <a:gd name="T17" fmla="*/ 135317 h 339"/>
                  <a:gd name="T18" fmla="*/ 215420 w 505"/>
                  <a:gd name="T19" fmla="*/ 142135 h 339"/>
                  <a:gd name="T20" fmla="*/ 209302 w 505"/>
                  <a:gd name="T21" fmla="*/ 153149 h 339"/>
                  <a:gd name="T22" fmla="*/ 204496 w 505"/>
                  <a:gd name="T23" fmla="*/ 164688 h 339"/>
                  <a:gd name="T24" fmla="*/ 202748 w 505"/>
                  <a:gd name="T25" fmla="*/ 177800 h 339"/>
                  <a:gd name="T26" fmla="*/ 193572 w 505"/>
                  <a:gd name="T27" fmla="*/ 177276 h 339"/>
                  <a:gd name="T28" fmla="*/ 180900 w 505"/>
                  <a:gd name="T29" fmla="*/ 175702 h 339"/>
                  <a:gd name="T30" fmla="*/ 168228 w 505"/>
                  <a:gd name="T31" fmla="*/ 173604 h 339"/>
                  <a:gd name="T32" fmla="*/ 156430 w 505"/>
                  <a:gd name="T33" fmla="*/ 170982 h 339"/>
                  <a:gd name="T34" fmla="*/ 132835 w 505"/>
                  <a:gd name="T35" fmla="*/ 170457 h 339"/>
                  <a:gd name="T36" fmla="*/ 115356 w 505"/>
                  <a:gd name="T37" fmla="*/ 168359 h 339"/>
                  <a:gd name="T38" fmla="*/ 108365 w 505"/>
                  <a:gd name="T39" fmla="*/ 166261 h 339"/>
                  <a:gd name="T40" fmla="*/ 101374 w 505"/>
                  <a:gd name="T41" fmla="*/ 162590 h 339"/>
                  <a:gd name="T42" fmla="*/ 93072 w 505"/>
                  <a:gd name="T43" fmla="*/ 157345 h 339"/>
                  <a:gd name="T44" fmla="*/ 78652 w 505"/>
                  <a:gd name="T45" fmla="*/ 151576 h 339"/>
                  <a:gd name="T46" fmla="*/ 63796 w 505"/>
                  <a:gd name="T47" fmla="*/ 143184 h 339"/>
                  <a:gd name="T48" fmla="*/ 42822 w 505"/>
                  <a:gd name="T49" fmla="*/ 130596 h 339"/>
                  <a:gd name="T50" fmla="*/ 27091 w 505"/>
                  <a:gd name="T51" fmla="*/ 108044 h 339"/>
                  <a:gd name="T52" fmla="*/ 22722 w 505"/>
                  <a:gd name="T53" fmla="*/ 88638 h 339"/>
                  <a:gd name="T54" fmla="*/ 15730 w 505"/>
                  <a:gd name="T55" fmla="*/ 65036 h 339"/>
                  <a:gd name="T56" fmla="*/ 6554 w 505"/>
                  <a:gd name="T57" fmla="*/ 43532 h 339"/>
                  <a:gd name="T58" fmla="*/ 874 w 505"/>
                  <a:gd name="T59" fmla="*/ 33567 h 339"/>
                  <a:gd name="T60" fmla="*/ 2185 w 505"/>
                  <a:gd name="T61" fmla="*/ 31994 h 339"/>
                  <a:gd name="T62" fmla="*/ 4807 w 505"/>
                  <a:gd name="T63" fmla="*/ 29371 h 339"/>
                  <a:gd name="T64" fmla="*/ 4807 w 505"/>
                  <a:gd name="T65" fmla="*/ 25175 h 339"/>
                  <a:gd name="T66" fmla="*/ 4807 w 505"/>
                  <a:gd name="T67" fmla="*/ 22553 h 339"/>
                  <a:gd name="T68" fmla="*/ 14857 w 505"/>
                  <a:gd name="T69" fmla="*/ 17832 h 339"/>
                  <a:gd name="T70" fmla="*/ 31898 w 505"/>
                  <a:gd name="T71" fmla="*/ 11539 h 339"/>
                  <a:gd name="T72" fmla="*/ 55930 w 505"/>
                  <a:gd name="T73" fmla="*/ 4196 h 339"/>
                  <a:gd name="T74" fmla="*/ 75593 w 505"/>
                  <a:gd name="T75" fmla="*/ 5769 h 339"/>
                  <a:gd name="T76" fmla="*/ 82148 w 505"/>
                  <a:gd name="T77" fmla="*/ 14686 h 339"/>
                  <a:gd name="T78" fmla="*/ 87828 w 505"/>
                  <a:gd name="T79" fmla="*/ 18357 h 339"/>
                  <a:gd name="T80" fmla="*/ 95693 w 505"/>
                  <a:gd name="T81" fmla="*/ 18881 h 339"/>
                  <a:gd name="T82" fmla="*/ 104433 w 505"/>
                  <a:gd name="T83" fmla="*/ 18881 h 339"/>
                  <a:gd name="T84" fmla="*/ 113172 w 505"/>
                  <a:gd name="T85" fmla="*/ 12588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17">
                <a:extLst>
                  <a:ext uri="{FF2B5EF4-FFF2-40B4-BE49-F238E27FC236}">
                    <a16:creationId xmlns:a16="http://schemas.microsoft.com/office/drawing/2014/main" id="{56254753-7246-4DA1-A46D-ECE33C5D7713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450518" y="3801501"/>
                <a:ext cx="798290" cy="715909"/>
              </a:xfrm>
              <a:custGeom>
                <a:avLst/>
                <a:gdLst>
                  <a:gd name="T0" fmla="*/ 141903 w 578"/>
                  <a:gd name="T1" fmla="*/ 46122 h 524"/>
                  <a:gd name="T2" fmla="*/ 135393 w 578"/>
                  <a:gd name="T3" fmla="*/ 44550 h 524"/>
                  <a:gd name="T4" fmla="*/ 130620 w 578"/>
                  <a:gd name="T5" fmla="*/ 41405 h 524"/>
                  <a:gd name="T6" fmla="*/ 119337 w 578"/>
                  <a:gd name="T7" fmla="*/ 34592 h 524"/>
                  <a:gd name="T8" fmla="*/ 108922 w 578"/>
                  <a:gd name="T9" fmla="*/ 40881 h 524"/>
                  <a:gd name="T10" fmla="*/ 106753 w 578"/>
                  <a:gd name="T11" fmla="*/ 55032 h 524"/>
                  <a:gd name="T12" fmla="*/ 109790 w 578"/>
                  <a:gd name="T13" fmla="*/ 80190 h 524"/>
                  <a:gd name="T14" fmla="*/ 117167 w 578"/>
                  <a:gd name="T15" fmla="*/ 90148 h 524"/>
                  <a:gd name="T16" fmla="*/ 124545 w 578"/>
                  <a:gd name="T17" fmla="*/ 93293 h 524"/>
                  <a:gd name="T18" fmla="*/ 129318 w 578"/>
                  <a:gd name="T19" fmla="*/ 100106 h 524"/>
                  <a:gd name="T20" fmla="*/ 152318 w 578"/>
                  <a:gd name="T21" fmla="*/ 117926 h 524"/>
                  <a:gd name="T22" fmla="*/ 194845 w 578"/>
                  <a:gd name="T23" fmla="*/ 161952 h 524"/>
                  <a:gd name="T24" fmla="*/ 206996 w 578"/>
                  <a:gd name="T25" fmla="*/ 168765 h 524"/>
                  <a:gd name="T26" fmla="*/ 218712 w 578"/>
                  <a:gd name="T27" fmla="*/ 171910 h 524"/>
                  <a:gd name="T28" fmla="*/ 232599 w 578"/>
                  <a:gd name="T29" fmla="*/ 186585 h 524"/>
                  <a:gd name="T30" fmla="*/ 250825 w 578"/>
                  <a:gd name="T31" fmla="*/ 197068 h 524"/>
                  <a:gd name="T32" fmla="*/ 245184 w 578"/>
                  <a:gd name="T33" fmla="*/ 213315 h 524"/>
                  <a:gd name="T34" fmla="*/ 228259 w 578"/>
                  <a:gd name="T35" fmla="*/ 200737 h 524"/>
                  <a:gd name="T36" fmla="*/ 220448 w 578"/>
                  <a:gd name="T37" fmla="*/ 197068 h 524"/>
                  <a:gd name="T38" fmla="*/ 216109 w 578"/>
                  <a:gd name="T39" fmla="*/ 208074 h 524"/>
                  <a:gd name="T40" fmla="*/ 219580 w 578"/>
                  <a:gd name="T41" fmla="*/ 223274 h 524"/>
                  <a:gd name="T42" fmla="*/ 223052 w 578"/>
                  <a:gd name="T43" fmla="*/ 231659 h 524"/>
                  <a:gd name="T44" fmla="*/ 216977 w 578"/>
                  <a:gd name="T45" fmla="*/ 245286 h 524"/>
                  <a:gd name="T46" fmla="*/ 209599 w 578"/>
                  <a:gd name="T47" fmla="*/ 264679 h 524"/>
                  <a:gd name="T48" fmla="*/ 201788 w 578"/>
                  <a:gd name="T49" fmla="*/ 273589 h 524"/>
                  <a:gd name="T50" fmla="*/ 189204 w 578"/>
                  <a:gd name="T51" fmla="*/ 264679 h 524"/>
                  <a:gd name="T52" fmla="*/ 197883 w 578"/>
                  <a:gd name="T53" fmla="*/ 253672 h 524"/>
                  <a:gd name="T54" fmla="*/ 201788 w 578"/>
                  <a:gd name="T55" fmla="*/ 244762 h 524"/>
                  <a:gd name="T56" fmla="*/ 200052 w 578"/>
                  <a:gd name="T57" fmla="*/ 231135 h 524"/>
                  <a:gd name="T58" fmla="*/ 185298 w 578"/>
                  <a:gd name="T59" fmla="*/ 207026 h 524"/>
                  <a:gd name="T60" fmla="*/ 167072 w 578"/>
                  <a:gd name="T61" fmla="*/ 193399 h 524"/>
                  <a:gd name="T62" fmla="*/ 154053 w 578"/>
                  <a:gd name="T63" fmla="*/ 186585 h 524"/>
                  <a:gd name="T64" fmla="*/ 137997 w 578"/>
                  <a:gd name="T65" fmla="*/ 172958 h 524"/>
                  <a:gd name="T66" fmla="*/ 116299 w 578"/>
                  <a:gd name="T67" fmla="*/ 165097 h 524"/>
                  <a:gd name="T68" fmla="*/ 94602 w 578"/>
                  <a:gd name="T69" fmla="*/ 149373 h 524"/>
                  <a:gd name="T70" fmla="*/ 70300 w 578"/>
                  <a:gd name="T71" fmla="*/ 120023 h 524"/>
                  <a:gd name="T72" fmla="*/ 54678 w 578"/>
                  <a:gd name="T73" fmla="*/ 88052 h 524"/>
                  <a:gd name="T74" fmla="*/ 33414 w 578"/>
                  <a:gd name="T75" fmla="*/ 80714 h 524"/>
                  <a:gd name="T76" fmla="*/ 22132 w 578"/>
                  <a:gd name="T77" fmla="*/ 82286 h 524"/>
                  <a:gd name="T78" fmla="*/ 6509 w 578"/>
                  <a:gd name="T79" fmla="*/ 86479 h 524"/>
                  <a:gd name="T80" fmla="*/ 1302 w 578"/>
                  <a:gd name="T81" fmla="*/ 69707 h 524"/>
                  <a:gd name="T82" fmla="*/ 434 w 578"/>
                  <a:gd name="T83" fmla="*/ 48743 h 524"/>
                  <a:gd name="T84" fmla="*/ 2604 w 578"/>
                  <a:gd name="T85" fmla="*/ 25682 h 524"/>
                  <a:gd name="T86" fmla="*/ 19528 w 578"/>
                  <a:gd name="T87" fmla="*/ 21489 h 524"/>
                  <a:gd name="T88" fmla="*/ 29509 w 578"/>
                  <a:gd name="T89" fmla="*/ 17296 h 524"/>
                  <a:gd name="T90" fmla="*/ 36018 w 578"/>
                  <a:gd name="T91" fmla="*/ 25158 h 524"/>
                  <a:gd name="T92" fmla="*/ 45131 w 578"/>
                  <a:gd name="T93" fmla="*/ 23061 h 524"/>
                  <a:gd name="T94" fmla="*/ 64659 w 578"/>
                  <a:gd name="T95" fmla="*/ 8386 h 524"/>
                  <a:gd name="T96" fmla="*/ 103715 w 578"/>
                  <a:gd name="T97" fmla="*/ 0 h 524"/>
                  <a:gd name="T98" fmla="*/ 111526 w 578"/>
                  <a:gd name="T99" fmla="*/ 6814 h 524"/>
                  <a:gd name="T100" fmla="*/ 144072 w 578"/>
                  <a:gd name="T101" fmla="*/ 9958 h 524"/>
                  <a:gd name="T102" fmla="*/ 139733 w 578"/>
                  <a:gd name="T103" fmla="*/ 34068 h 524"/>
                  <a:gd name="T104" fmla="*/ 141035 w 578"/>
                  <a:gd name="T105" fmla="*/ 47170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pt-PT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8" name="Rectângulo 102">
              <a:extLst>
                <a:ext uri="{FF2B5EF4-FFF2-40B4-BE49-F238E27FC236}">
                  <a16:creationId xmlns:a16="http://schemas.microsoft.com/office/drawing/2014/main" id="{6EE69653-9308-4E2E-9BCD-964C0D44F832}"/>
                </a:ext>
              </a:extLst>
            </p:cNvPr>
            <p:cNvSpPr/>
            <p:nvPr/>
          </p:nvSpPr>
          <p:spPr>
            <a:xfrm>
              <a:off x="2627661" y="5032921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14.3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109" name="Rectângulo 103">
              <a:extLst>
                <a:ext uri="{FF2B5EF4-FFF2-40B4-BE49-F238E27FC236}">
                  <a16:creationId xmlns:a16="http://schemas.microsoft.com/office/drawing/2014/main" id="{06060C24-DB8F-47F8-B50C-61FC9BB186F5}"/>
                </a:ext>
              </a:extLst>
            </p:cNvPr>
            <p:cNvSpPr/>
            <p:nvPr/>
          </p:nvSpPr>
          <p:spPr>
            <a:xfrm>
              <a:off x="4139952" y="4725144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7.2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110" name="Rectângulo 105">
              <a:extLst>
                <a:ext uri="{FF2B5EF4-FFF2-40B4-BE49-F238E27FC236}">
                  <a16:creationId xmlns:a16="http://schemas.microsoft.com/office/drawing/2014/main" id="{07F8A28F-05ED-45ED-8117-72ED406B93A8}"/>
                </a:ext>
              </a:extLst>
            </p:cNvPr>
            <p:cNvSpPr/>
            <p:nvPr/>
          </p:nvSpPr>
          <p:spPr>
            <a:xfrm>
              <a:off x="3099426" y="4928686"/>
              <a:ext cx="7200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400" b="1" dirty="0">
                  <a:solidFill>
                    <a:prstClr val="black"/>
                  </a:solidFill>
                </a:rPr>
                <a:t>14.1%</a:t>
              </a:r>
              <a:endParaRPr lang="pt-PT" sz="14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190" name="Rectângulo 13">
            <a:extLst>
              <a:ext uri="{FF2B5EF4-FFF2-40B4-BE49-F238E27FC236}">
                <a16:creationId xmlns:a16="http://schemas.microsoft.com/office/drawing/2014/main" id="{D0970116-7842-4251-895E-99D2018789DD}"/>
              </a:ext>
            </a:extLst>
          </p:cNvPr>
          <p:cNvSpPr/>
          <p:nvPr/>
        </p:nvSpPr>
        <p:spPr>
          <a:xfrm>
            <a:off x="355260" y="5921138"/>
            <a:ext cx="3536935" cy="338554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mbria" pitchFamily="18" charset="0"/>
              </a:rPr>
              <a:t>Respondents Nationality</a:t>
            </a:r>
          </a:p>
        </p:txBody>
      </p:sp>
      <p:sp>
        <p:nvSpPr>
          <p:cNvPr id="191" name="Rectângulo 13">
            <a:extLst>
              <a:ext uri="{FF2B5EF4-FFF2-40B4-BE49-F238E27FC236}">
                <a16:creationId xmlns:a16="http://schemas.microsoft.com/office/drawing/2014/main" id="{683BA511-42EF-42B8-BE6E-FD2FC677D101}"/>
              </a:ext>
            </a:extLst>
          </p:cNvPr>
          <p:cNvSpPr/>
          <p:nvPr/>
        </p:nvSpPr>
        <p:spPr>
          <a:xfrm>
            <a:off x="5184509" y="5944092"/>
            <a:ext cx="3536935" cy="338554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ambria" pitchFamily="18" charset="0"/>
              </a:rPr>
              <a:t>Where they did Erasmus</a:t>
            </a:r>
          </a:p>
        </p:txBody>
      </p:sp>
    </p:spTree>
    <p:extLst>
      <p:ext uri="{BB962C8B-B14F-4D97-AF65-F5344CB8AC3E}">
        <p14:creationId xmlns:p14="http://schemas.microsoft.com/office/powerpoint/2010/main" val="23294034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9" grpId="0"/>
      <p:bldP spid="20" grpId="0"/>
      <p:bldP spid="190" grpId="0" animBg="1"/>
      <p:bldP spid="19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14702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Results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1112819C-4761-46D4-B8D4-CA7DD9AA5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11" name="Rectangle 11">
            <a:extLst>
              <a:ext uri="{FF2B5EF4-FFF2-40B4-BE49-F238E27FC236}">
                <a16:creationId xmlns:a16="http://schemas.microsoft.com/office/drawing/2014/main" id="{087BDEBD-2FF9-4E7F-8EC1-80AE1DE90B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BF6CE7A-E2C7-4E5B-A912-573C74720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BDCB4062-E24F-4FF4-830D-2D21CE39B9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4" name="Rectangle 11">
            <a:extLst>
              <a:ext uri="{FF2B5EF4-FFF2-40B4-BE49-F238E27FC236}">
                <a16:creationId xmlns:a16="http://schemas.microsoft.com/office/drawing/2014/main" id="{2B4A6F3E-E2E2-4C2E-A297-6B813C2CA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603067AE-8A08-45F3-AC3E-2655D60AC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B767D4FE-F424-4066-8328-0364A7A09D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616" y="724380"/>
            <a:ext cx="312374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pt-PT" sz="1200" b="0" i="0" u="none" strike="noStrike" cap="none" normalizeH="0" baseline="0" dirty="0" bmk="_Toc376076454">
                <a:ln>
                  <a:noFill/>
                </a:ln>
                <a:solidFill>
                  <a:schemeClr val="tx1"/>
                </a:solidFill>
                <a:effectLst/>
                <a:latin typeface="Cambria" panose="0204050305040603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riterion for Assessing Reflective Constructs</a:t>
            </a:r>
            <a:r>
              <a:rPr kumimoji="0" lang="en-GB" altLang="pt-PT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mbria" panose="0204050305040603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pt-PT" altLang="pt-PT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altLang="pt-P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" name="Rectângulo 12">
            <a:extLst>
              <a:ext uri="{FF2B5EF4-FFF2-40B4-BE49-F238E27FC236}">
                <a16:creationId xmlns:a16="http://schemas.microsoft.com/office/drawing/2014/main" id="{E6BFF49B-6C12-4802-A40A-803EF2CFFC0A}"/>
              </a:ext>
            </a:extLst>
          </p:cNvPr>
          <p:cNvSpPr/>
          <p:nvPr/>
        </p:nvSpPr>
        <p:spPr>
          <a:xfrm>
            <a:off x="144256" y="1086347"/>
            <a:ext cx="8820231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Internal Consistency Reliability </a:t>
            </a:r>
            <a:r>
              <a:rPr lang="en-GB" sz="1600" dirty="0">
                <a:latin typeface="Cambria" pitchFamily="18" charset="0"/>
              </a:rPr>
              <a:t>– </a:t>
            </a:r>
            <a:r>
              <a:rPr lang="en-GB" dirty="0">
                <a:latin typeface="Cambria" pitchFamily="18" charset="0"/>
              </a:rPr>
              <a:t>Cronbach’s alpha and Composite Reliability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7" name="Rectângulo 12">
            <a:extLst>
              <a:ext uri="{FF2B5EF4-FFF2-40B4-BE49-F238E27FC236}">
                <a16:creationId xmlns:a16="http://schemas.microsoft.com/office/drawing/2014/main" id="{44B5445A-668E-442A-847F-D9C0DA53676A}"/>
              </a:ext>
            </a:extLst>
          </p:cNvPr>
          <p:cNvSpPr/>
          <p:nvPr/>
        </p:nvSpPr>
        <p:spPr>
          <a:xfrm>
            <a:off x="921644" y="1718655"/>
            <a:ext cx="7631728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CA –&gt; 0.81 – 0.92          and CR-&gt; 0.88-0.94 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8" name="Rectângulo 12">
            <a:extLst>
              <a:ext uri="{FF2B5EF4-FFF2-40B4-BE49-F238E27FC236}">
                <a16:creationId xmlns:a16="http://schemas.microsoft.com/office/drawing/2014/main" id="{001A6E63-00A0-4568-BF0B-2D6975410DFF}"/>
              </a:ext>
            </a:extLst>
          </p:cNvPr>
          <p:cNvSpPr/>
          <p:nvPr/>
        </p:nvSpPr>
        <p:spPr>
          <a:xfrm>
            <a:off x="120321" y="2377750"/>
            <a:ext cx="8820231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Indicator Reliability 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9" name="Rectângulo 12">
            <a:extLst>
              <a:ext uri="{FF2B5EF4-FFF2-40B4-BE49-F238E27FC236}">
                <a16:creationId xmlns:a16="http://schemas.microsoft.com/office/drawing/2014/main" id="{9713C5B5-26E2-4EF0-8772-423E8612E328}"/>
              </a:ext>
            </a:extLst>
          </p:cNvPr>
          <p:cNvSpPr/>
          <p:nvPr/>
        </p:nvSpPr>
        <p:spPr>
          <a:xfrm>
            <a:off x="756136" y="2978353"/>
            <a:ext cx="7631728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Indicator Loadings higher than 0.73 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20" name="Rectângulo 12">
            <a:extLst>
              <a:ext uri="{FF2B5EF4-FFF2-40B4-BE49-F238E27FC236}">
                <a16:creationId xmlns:a16="http://schemas.microsoft.com/office/drawing/2014/main" id="{7D40925D-D96D-4421-8AC7-0E6C6567C7F5}"/>
              </a:ext>
            </a:extLst>
          </p:cNvPr>
          <p:cNvSpPr/>
          <p:nvPr/>
        </p:nvSpPr>
        <p:spPr>
          <a:xfrm>
            <a:off x="161884" y="3669153"/>
            <a:ext cx="8820231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Convergent Validity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21" name="Rectângulo 12">
            <a:extLst>
              <a:ext uri="{FF2B5EF4-FFF2-40B4-BE49-F238E27FC236}">
                <a16:creationId xmlns:a16="http://schemas.microsoft.com/office/drawing/2014/main" id="{DB3E1F45-45C3-4E17-9E56-079ED69CF3D7}"/>
              </a:ext>
            </a:extLst>
          </p:cNvPr>
          <p:cNvSpPr/>
          <p:nvPr/>
        </p:nvSpPr>
        <p:spPr>
          <a:xfrm>
            <a:off x="162695" y="4916049"/>
            <a:ext cx="8820231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Discriminant  Validity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22" name="Rectângulo 12">
            <a:extLst>
              <a:ext uri="{FF2B5EF4-FFF2-40B4-BE49-F238E27FC236}">
                <a16:creationId xmlns:a16="http://schemas.microsoft.com/office/drawing/2014/main" id="{A4B1070C-604A-4AAA-BC2E-6B3B294FBC3A}"/>
              </a:ext>
            </a:extLst>
          </p:cNvPr>
          <p:cNvSpPr/>
          <p:nvPr/>
        </p:nvSpPr>
        <p:spPr>
          <a:xfrm>
            <a:off x="810396" y="4271655"/>
            <a:ext cx="7631728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AVE all above 0.5  (0.65 – 0.82)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23" name="Rectângulo 12">
            <a:extLst>
              <a:ext uri="{FF2B5EF4-FFF2-40B4-BE49-F238E27FC236}">
                <a16:creationId xmlns:a16="http://schemas.microsoft.com/office/drawing/2014/main" id="{31FDBF77-DB34-42B1-8B73-6B26024901DF}"/>
              </a:ext>
            </a:extLst>
          </p:cNvPr>
          <p:cNvSpPr/>
          <p:nvPr/>
        </p:nvSpPr>
        <p:spPr>
          <a:xfrm>
            <a:off x="612395" y="5570704"/>
            <a:ext cx="7631728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 err="1">
                <a:latin typeface="Cambria" pitchFamily="18" charset="0"/>
              </a:rPr>
              <a:t>Fornell-Larcker</a:t>
            </a:r>
            <a:r>
              <a:rPr lang="en-GB" sz="2400" dirty="0">
                <a:latin typeface="Cambria" pitchFamily="18" charset="0"/>
              </a:rPr>
              <a:t>, Cross Loadings and HTMT</a:t>
            </a:r>
            <a:endParaRPr lang="pt-PT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848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CaixaDeTexto 89"/>
          <p:cNvSpPr txBox="1"/>
          <p:nvPr/>
        </p:nvSpPr>
        <p:spPr>
          <a:xfrm>
            <a:off x="5724128" y="1916832"/>
            <a:ext cx="9412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24</a:t>
            </a:r>
            <a:r>
              <a:rPr lang="pt-PT" sz="1200" dirty="0"/>
              <a:t>***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5724128" y="980728"/>
            <a:ext cx="83441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71</a:t>
            </a:r>
            <a:r>
              <a:rPr lang="pt-PT" sz="1200" dirty="0"/>
              <a:t>***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5868144" y="2780928"/>
            <a:ext cx="8692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58</a:t>
            </a:r>
            <a:r>
              <a:rPr lang="pt-PT" sz="1200" dirty="0"/>
              <a:t>***</a:t>
            </a:r>
          </a:p>
        </p:txBody>
      </p:sp>
      <p:sp>
        <p:nvSpPr>
          <p:cNvPr id="54" name="Oval 53"/>
          <p:cNvSpPr/>
          <p:nvPr/>
        </p:nvSpPr>
        <p:spPr>
          <a:xfrm>
            <a:off x="1213014" y="4084000"/>
            <a:ext cx="1440160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pt-PT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ountry Brand </a:t>
            </a:r>
            <a:r>
              <a:rPr lang="pt-PT" sz="16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mage</a:t>
            </a:r>
            <a:endParaRPr lang="pt-PT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6660232" y="2636912"/>
            <a:ext cx="1728192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pt-PT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WOM </a:t>
            </a:r>
            <a:r>
              <a:rPr lang="en-US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intensity</a:t>
            </a:r>
          </a:p>
        </p:txBody>
      </p:sp>
      <p:sp>
        <p:nvSpPr>
          <p:cNvPr id="57" name="Oval 56"/>
          <p:cNvSpPr/>
          <p:nvPr/>
        </p:nvSpPr>
        <p:spPr>
          <a:xfrm>
            <a:off x="6660232" y="214349"/>
            <a:ext cx="1656184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pt-PT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WOM</a:t>
            </a:r>
          </a:p>
        </p:txBody>
      </p:sp>
      <p:sp>
        <p:nvSpPr>
          <p:cNvPr id="58" name="Oval 57"/>
          <p:cNvSpPr/>
          <p:nvPr/>
        </p:nvSpPr>
        <p:spPr>
          <a:xfrm>
            <a:off x="3779912" y="2636912"/>
            <a:ext cx="1440160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ountry Brand</a:t>
            </a:r>
          </a:p>
          <a:p>
            <a:pPr algn="ctr"/>
            <a:r>
              <a:rPr lang="en-GB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Love</a:t>
            </a:r>
          </a:p>
        </p:txBody>
      </p:sp>
      <p:sp>
        <p:nvSpPr>
          <p:cNvPr id="59" name="Oval 58"/>
          <p:cNvSpPr/>
          <p:nvPr/>
        </p:nvSpPr>
        <p:spPr>
          <a:xfrm>
            <a:off x="6660232" y="1412776"/>
            <a:ext cx="1800200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-WOM</a:t>
            </a:r>
          </a:p>
        </p:txBody>
      </p:sp>
      <p:sp>
        <p:nvSpPr>
          <p:cNvPr id="62" name="Oval 61"/>
          <p:cNvSpPr/>
          <p:nvPr/>
        </p:nvSpPr>
        <p:spPr>
          <a:xfrm>
            <a:off x="6732240" y="5013176"/>
            <a:ext cx="1656184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visit Intentions</a:t>
            </a:r>
          </a:p>
        </p:txBody>
      </p:sp>
      <p:cxnSp>
        <p:nvCxnSpPr>
          <p:cNvPr id="70" name="Conexão recta unidireccional 69"/>
          <p:cNvCxnSpPr>
            <a:stCxn id="58" idx="6"/>
            <a:endCxn id="57" idx="2"/>
          </p:cNvCxnSpPr>
          <p:nvPr/>
        </p:nvCxnSpPr>
        <p:spPr>
          <a:xfrm flipV="1">
            <a:off x="5220072" y="682401"/>
            <a:ext cx="1440160" cy="242256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xão recta unidireccional 71"/>
          <p:cNvCxnSpPr>
            <a:stCxn id="58" idx="6"/>
            <a:endCxn id="59" idx="2"/>
          </p:cNvCxnSpPr>
          <p:nvPr/>
        </p:nvCxnSpPr>
        <p:spPr>
          <a:xfrm flipV="1">
            <a:off x="5220072" y="1880828"/>
            <a:ext cx="1440160" cy="122413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exão recta unidireccional 73"/>
          <p:cNvCxnSpPr>
            <a:stCxn id="58" idx="6"/>
            <a:endCxn id="56" idx="2"/>
          </p:cNvCxnSpPr>
          <p:nvPr/>
        </p:nvCxnSpPr>
        <p:spPr>
          <a:xfrm>
            <a:off x="5220072" y="3104964"/>
            <a:ext cx="1440160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aixaDeTexto 90"/>
          <p:cNvSpPr txBox="1"/>
          <p:nvPr/>
        </p:nvSpPr>
        <p:spPr>
          <a:xfrm>
            <a:off x="5868144" y="3501008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70</a:t>
            </a:r>
            <a:r>
              <a:rPr lang="pt-PT" sz="1200" dirty="0"/>
              <a:t>***</a:t>
            </a:r>
          </a:p>
        </p:txBody>
      </p:sp>
      <p:cxnSp>
        <p:nvCxnSpPr>
          <p:cNvPr id="79" name="Conexão recta unidireccional 78"/>
          <p:cNvCxnSpPr>
            <a:cxnSpLocks/>
            <a:stCxn id="58" idx="6"/>
            <a:endCxn id="60" idx="2"/>
          </p:cNvCxnSpPr>
          <p:nvPr/>
        </p:nvCxnSpPr>
        <p:spPr>
          <a:xfrm>
            <a:off x="5220072" y="3104964"/>
            <a:ext cx="1440160" cy="115212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/>
          <p:cNvSpPr txBox="1"/>
          <p:nvPr/>
        </p:nvSpPr>
        <p:spPr>
          <a:xfrm>
            <a:off x="6012160" y="4437112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55</a:t>
            </a:r>
            <a:r>
              <a:rPr lang="pt-PT" sz="1200" dirty="0"/>
              <a:t>***</a:t>
            </a:r>
          </a:p>
        </p:txBody>
      </p:sp>
      <p:cxnSp>
        <p:nvCxnSpPr>
          <p:cNvPr id="81" name="Conexão recta unidireccional 80"/>
          <p:cNvCxnSpPr>
            <a:stCxn id="58" idx="6"/>
            <a:endCxn id="62" idx="2"/>
          </p:cNvCxnSpPr>
          <p:nvPr/>
        </p:nvCxnSpPr>
        <p:spPr>
          <a:xfrm>
            <a:off x="5220072" y="3104964"/>
            <a:ext cx="1512168" cy="237626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/>
          <p:cNvSpPr/>
          <p:nvPr/>
        </p:nvSpPr>
        <p:spPr>
          <a:xfrm>
            <a:off x="6660232" y="3789040"/>
            <a:ext cx="1872208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Recommendation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2699792" y="2276872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46</a:t>
            </a:r>
            <a:r>
              <a:rPr lang="pt-PT" sz="1200" dirty="0"/>
              <a:t>***</a:t>
            </a:r>
          </a:p>
        </p:txBody>
      </p:sp>
      <p:cxnSp>
        <p:nvCxnSpPr>
          <p:cNvPr id="64" name="Conexão recta unidireccional 63"/>
          <p:cNvCxnSpPr>
            <a:cxnSpLocks/>
            <a:endCxn id="58" idx="1"/>
          </p:cNvCxnSpPr>
          <p:nvPr/>
        </p:nvCxnSpPr>
        <p:spPr>
          <a:xfrm>
            <a:off x="2627784" y="1690916"/>
            <a:ext cx="1363035" cy="108308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ixaDeTexto 31"/>
          <p:cNvSpPr txBox="1"/>
          <p:nvPr/>
        </p:nvSpPr>
        <p:spPr>
          <a:xfrm>
            <a:off x="2771800" y="3645024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34</a:t>
            </a:r>
            <a:r>
              <a:rPr lang="pt-PT" sz="1200" dirty="0"/>
              <a:t>***</a:t>
            </a:r>
          </a:p>
        </p:txBody>
      </p:sp>
      <p:cxnSp>
        <p:nvCxnSpPr>
          <p:cNvPr id="66" name="Conexão recta unidireccional 65"/>
          <p:cNvCxnSpPr>
            <a:stCxn id="54" idx="6"/>
            <a:endCxn id="58" idx="3"/>
          </p:cNvCxnSpPr>
          <p:nvPr/>
        </p:nvCxnSpPr>
        <p:spPr>
          <a:xfrm flipV="1">
            <a:off x="2653174" y="3435927"/>
            <a:ext cx="1337645" cy="1116125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179512" y="5473004"/>
            <a:ext cx="439248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mbria" pitchFamily="18" charset="0"/>
                <a:ea typeface="Times New Roman" pitchFamily="18" charset="0"/>
                <a:cs typeface="Times New Roman" pitchFamily="18" charset="0"/>
              </a:rPr>
              <a:t>Beautiful scenery and natural attraction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  <a:latin typeface="Cambria" pitchFamily="18" charset="0"/>
                <a:ea typeface="Times New Roman" pitchFamily="18" charset="0"/>
                <a:cs typeface="Times New Roman" pitchFamily="18" charset="0"/>
              </a:rPr>
              <a:t>Exciting and interesting places to visi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PT" dirty="0">
                <a:solidFill>
                  <a:srgbClr val="000000"/>
                </a:solidFill>
                <a:latin typeface="Cambria" pitchFamily="18" charset="0"/>
                <a:ea typeface="Times New Roman" pitchFamily="18" charset="0"/>
                <a:cs typeface="Times New Roman" pitchFamily="18" charset="0"/>
              </a:rPr>
              <a:t>Safe </a:t>
            </a:r>
            <a:r>
              <a:rPr lang="pt-PT" dirty="0" err="1">
                <a:solidFill>
                  <a:srgbClr val="000000"/>
                </a:solidFill>
                <a:latin typeface="Cambria" pitchFamily="18" charset="0"/>
                <a:ea typeface="Times New Roman" pitchFamily="18" charset="0"/>
                <a:cs typeface="Times New Roman" pitchFamily="18" charset="0"/>
              </a:rPr>
              <a:t>and</a:t>
            </a:r>
            <a:r>
              <a:rPr lang="pt-PT" dirty="0">
                <a:solidFill>
                  <a:srgbClr val="000000"/>
                </a:solidFill>
                <a:latin typeface="Cambria" pitchFamily="18" charset="0"/>
                <a:ea typeface="Times New Roman" pitchFamily="18" charset="0"/>
                <a:cs typeface="Times New Roman" pitchFamily="18" charset="0"/>
              </a:rPr>
              <a:t> Secure</a:t>
            </a:r>
          </a:p>
        </p:txBody>
      </p:sp>
      <p:sp>
        <p:nvSpPr>
          <p:cNvPr id="39" name="CaixaDeTexto 38"/>
          <p:cNvSpPr txBox="1"/>
          <p:nvPr/>
        </p:nvSpPr>
        <p:spPr>
          <a:xfrm>
            <a:off x="4283967" y="3573016"/>
            <a:ext cx="69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4.05</a:t>
            </a:r>
          </a:p>
        </p:txBody>
      </p:sp>
      <p:sp>
        <p:nvSpPr>
          <p:cNvPr id="40" name="CaixaDeTexto 39"/>
          <p:cNvSpPr txBox="1"/>
          <p:nvPr/>
        </p:nvSpPr>
        <p:spPr>
          <a:xfrm>
            <a:off x="8460432" y="2852936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3.5</a:t>
            </a:r>
          </a:p>
        </p:txBody>
      </p:sp>
      <p:sp>
        <p:nvSpPr>
          <p:cNvPr id="41" name="CaixaDeTexto 40"/>
          <p:cNvSpPr txBox="1"/>
          <p:nvPr/>
        </p:nvSpPr>
        <p:spPr>
          <a:xfrm>
            <a:off x="8388424" y="404664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3.88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8532440" y="4050399"/>
            <a:ext cx="576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4.2</a:t>
            </a:r>
          </a:p>
        </p:txBody>
      </p:sp>
      <p:sp>
        <p:nvSpPr>
          <p:cNvPr id="43" name="CaixaDeTexto 42"/>
          <p:cNvSpPr txBox="1"/>
          <p:nvPr/>
        </p:nvSpPr>
        <p:spPr>
          <a:xfrm>
            <a:off x="8460432" y="1772816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2.61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8460432" y="5229200"/>
            <a:ext cx="64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4.43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467544" y="1556792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4.09</a:t>
            </a:r>
          </a:p>
        </p:txBody>
      </p:sp>
      <p:sp>
        <p:nvSpPr>
          <p:cNvPr id="46" name="CaixaDeTexto 45"/>
          <p:cNvSpPr txBox="1"/>
          <p:nvPr/>
        </p:nvSpPr>
        <p:spPr>
          <a:xfrm>
            <a:off x="539552" y="4365104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latin typeface="Cambria" pitchFamily="18" charset="0"/>
              </a:rPr>
              <a:t>4.17</a:t>
            </a: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1186811" y="3525086"/>
            <a:ext cx="6789443" cy="523220"/>
          </a:xfrm>
          <a:prstGeom prst="rect">
            <a:avLst/>
          </a:prstGeom>
          <a:solidFill>
            <a:schemeClr val="bg1"/>
          </a:solidFill>
          <a:ln w="19050">
            <a:solidFill>
              <a:srgbClr val="76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800" dirty="0">
                <a:latin typeface="Cambria" pitchFamily="18" charset="0"/>
              </a:rPr>
              <a:t>90% posted a picture at least once a month</a:t>
            </a:r>
            <a:endParaRPr kumimoji="0" lang="en-US" altLang="ko-KR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mbria" pitchFamily="18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9178" y="136250"/>
            <a:ext cx="4379335" cy="328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FE8529E5-6754-40B6-B1FA-8AB422E14995}"/>
              </a:ext>
            </a:extLst>
          </p:cNvPr>
          <p:cNvSpPr/>
          <p:nvPr/>
        </p:nvSpPr>
        <p:spPr>
          <a:xfrm>
            <a:off x="1187624" y="1278632"/>
            <a:ext cx="1512168" cy="936104"/>
          </a:xfrm>
          <a:prstGeom prst="ellipse">
            <a:avLst/>
          </a:prstGeom>
          <a:solidFill>
            <a:srgbClr val="82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rasmus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xperience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C955FB23-97C5-4EC3-83B3-9A5541FE6219}"/>
              </a:ext>
            </a:extLst>
          </p:cNvPr>
          <p:cNvSpPr txBox="1"/>
          <p:nvPr/>
        </p:nvSpPr>
        <p:spPr>
          <a:xfrm>
            <a:off x="1860514" y="2958002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PT" sz="1400" dirty="0"/>
              <a:t>0.43</a:t>
            </a:r>
            <a:r>
              <a:rPr lang="pt-PT" sz="1200" dirty="0"/>
              <a:t>***</a:t>
            </a:r>
          </a:p>
        </p:txBody>
      </p:sp>
      <p:cxnSp>
        <p:nvCxnSpPr>
          <p:cNvPr id="36" name="Conexão recta unidireccional 65">
            <a:extLst>
              <a:ext uri="{FF2B5EF4-FFF2-40B4-BE49-F238E27FC236}">
                <a16:creationId xmlns:a16="http://schemas.microsoft.com/office/drawing/2014/main" id="{FBC56806-5D93-4999-AC18-74E6FBB92C2D}"/>
              </a:ext>
            </a:extLst>
          </p:cNvPr>
          <p:cNvCxnSpPr>
            <a:cxnSpLocks/>
            <a:stCxn id="54" idx="0"/>
            <a:endCxn id="31" idx="4"/>
          </p:cNvCxnSpPr>
          <p:nvPr/>
        </p:nvCxnSpPr>
        <p:spPr>
          <a:xfrm flipV="1">
            <a:off x="1933094" y="2214736"/>
            <a:ext cx="10614" cy="186926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9821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0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8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8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8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92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9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0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29" grpId="0" animBg="1"/>
      <p:bldP spid="15" grpId="0" animBg="1"/>
      <p:bldP spid="54" grpId="0" animBg="1"/>
      <p:bldP spid="56" grpId="0" animBg="1"/>
      <p:bldP spid="57" grpId="0" animBg="1"/>
      <p:bldP spid="59" grpId="0" animBg="1"/>
      <p:bldP spid="62" grpId="0" animBg="1"/>
      <p:bldP spid="91" grpId="0" animBg="1"/>
      <p:bldP spid="28" grpId="0" animBg="1"/>
      <p:bldP spid="60" grpId="0" animBg="1"/>
      <p:bldP spid="30" grpId="0" animBg="1"/>
      <p:bldP spid="32" grpId="0" animBg="1"/>
      <p:bldP spid="2049" grpId="0"/>
      <p:bldP spid="39" grpId="0"/>
      <p:bldP spid="40" grpId="0"/>
      <p:bldP spid="41" grpId="0"/>
      <p:bldP spid="42" grpId="0"/>
      <p:bldP spid="43" grpId="0"/>
      <p:bldP spid="44" grpId="0"/>
      <p:bldP spid="45" grpId="0"/>
      <p:bldP spid="46" grpId="0"/>
      <p:bldP spid="48" grpId="0" animBg="1"/>
      <p:bldP spid="48" grpId="1" animBg="1"/>
      <p:bldP spid="31" grpId="0" animBg="1"/>
      <p:bldP spid="4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22958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Conclusions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ctângulo 12"/>
          <p:cNvSpPr/>
          <p:nvPr/>
        </p:nvSpPr>
        <p:spPr>
          <a:xfrm>
            <a:off x="274501" y="1930126"/>
            <a:ext cx="8424936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Cambria" pitchFamily="18" charset="0"/>
              </a:rPr>
              <a:t>Erasmus Students Love the Countries where they study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80897" name="Rectangle 1"/>
          <p:cNvSpPr>
            <a:spLocks noChangeArrowheads="1"/>
          </p:cNvSpPr>
          <p:nvPr/>
        </p:nvSpPr>
        <p:spPr bwMode="auto">
          <a:xfrm>
            <a:off x="359532" y="4391269"/>
            <a:ext cx="8424936" cy="769441"/>
          </a:xfrm>
          <a:prstGeom prst="rect">
            <a:avLst/>
          </a:prstGeom>
          <a:noFill/>
          <a:ln w="19050">
            <a:solidFill>
              <a:srgbClr val="76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ko-KR" sz="2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mbria" pitchFamily="18" charset="0"/>
                <a:ea typeface="BatangChe" pitchFamily="49" charset="-127"/>
                <a:cs typeface="Times New Roman" pitchFamily="18" charset="0"/>
              </a:rPr>
              <a:t>Positive</a:t>
            </a:r>
            <a:r>
              <a:rPr kumimoji="0" lang="en-GB" altLang="ko-KR" sz="2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mbria" pitchFamily="18" charset="0"/>
                <a:ea typeface="BatangChe" pitchFamily="49" charset="-127"/>
                <a:cs typeface="Times New Roman" pitchFamily="18" charset="0"/>
              </a:rPr>
              <a:t> Outcomes: WOM, e-WOM, WOM intensity, recommendation, revisit intentions</a:t>
            </a:r>
            <a:endParaRPr kumimoji="0" lang="en-GB" altLang="ko-KR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mbria" pitchFamily="18" charset="0"/>
              <a:cs typeface="Arial" pitchFamily="34" charset="0"/>
            </a:endParaRPr>
          </a:p>
        </p:txBody>
      </p:sp>
      <p:sp>
        <p:nvSpPr>
          <p:cNvPr id="17" name="Seta para baixo 16"/>
          <p:cNvSpPr/>
          <p:nvPr/>
        </p:nvSpPr>
        <p:spPr>
          <a:xfrm>
            <a:off x="3848713" y="2613926"/>
            <a:ext cx="1080120" cy="1440160"/>
          </a:xfrm>
          <a:prstGeom prst="downArrow">
            <a:avLst/>
          </a:prstGeom>
          <a:solidFill>
            <a:srgbClr val="7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60DBC842-9672-4E9B-B2B9-B6A791FDC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12AA6EC5-02DF-4402-9AA0-A7169D419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1A17CA84-E707-4D83-B3B6-0B01B740D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BC77AFB8-16C8-4824-A2C4-4B601A1F0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4" name="Rectangle 11">
            <a:extLst>
              <a:ext uri="{FF2B5EF4-FFF2-40B4-BE49-F238E27FC236}">
                <a16:creationId xmlns:a16="http://schemas.microsoft.com/office/drawing/2014/main" id="{4464473B-6518-4A7C-A7EA-280627693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id="{2CF60D2D-6C0D-4A7C-98FA-8AD773514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6" name="Rectângulo 12">
            <a:extLst>
              <a:ext uri="{FF2B5EF4-FFF2-40B4-BE49-F238E27FC236}">
                <a16:creationId xmlns:a16="http://schemas.microsoft.com/office/drawing/2014/main" id="{B74366FF-51C1-4D13-B0F5-B4BCC7BD7094}"/>
              </a:ext>
            </a:extLst>
          </p:cNvPr>
          <p:cNvSpPr/>
          <p:nvPr/>
        </p:nvSpPr>
        <p:spPr>
          <a:xfrm>
            <a:off x="107504" y="1039287"/>
            <a:ext cx="8676964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latin typeface="Cambria" pitchFamily="18" charset="0"/>
              </a:rPr>
              <a:t>Concepts of Brand Love and Brand Image applied to countries</a:t>
            </a:r>
            <a:endParaRPr lang="pt-PT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4" dur="500"/>
                                        <p:tgtEl>
                                          <p:spTgt spid="808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80897" grpId="0" animBg="1"/>
      <p:bldP spid="17" grpId="0" animBg="1"/>
      <p:bldP spid="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22958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Conclusions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0897" name="Rectangle 1"/>
          <p:cNvSpPr>
            <a:spLocks noChangeArrowheads="1"/>
          </p:cNvSpPr>
          <p:nvPr/>
        </p:nvSpPr>
        <p:spPr bwMode="auto">
          <a:xfrm>
            <a:off x="215791" y="966037"/>
            <a:ext cx="8424936" cy="769441"/>
          </a:xfrm>
          <a:prstGeom prst="rect">
            <a:avLst/>
          </a:prstGeom>
          <a:noFill/>
          <a:ln w="19050">
            <a:solidFill>
              <a:srgbClr val="76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ko-KR" sz="2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mbria" pitchFamily="18" charset="0"/>
                <a:ea typeface="BatangChe" pitchFamily="49" charset="-127"/>
                <a:cs typeface="Times New Roman" pitchFamily="18" charset="0"/>
              </a:rPr>
              <a:t>There should be national policy initiatives to attract Erasmus students to the countries</a:t>
            </a:r>
            <a:r>
              <a:rPr lang="en-GB" altLang="ko-KR" sz="2200" dirty="0">
                <a:latin typeface="Cambria" pitchFamily="18" charset="0"/>
                <a:ea typeface="BatangChe" pitchFamily="49" charset="-127"/>
                <a:cs typeface="Times New Roman" pitchFamily="18" charset="0"/>
              </a:rPr>
              <a:t> and create great Erasmus experiences</a:t>
            </a:r>
            <a:endParaRPr kumimoji="0" lang="en-GB" altLang="ko-KR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mbria" pitchFamily="18" charset="0"/>
              <a:cs typeface="Arial" pitchFamily="34" charset="0"/>
            </a:endParaRPr>
          </a:p>
        </p:txBody>
      </p:sp>
      <p:sp>
        <p:nvSpPr>
          <p:cNvPr id="14" name="Rectângulo 13"/>
          <p:cNvSpPr/>
          <p:nvPr/>
        </p:nvSpPr>
        <p:spPr>
          <a:xfrm>
            <a:off x="237495" y="2905481"/>
            <a:ext cx="8352928" cy="1107996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2200" dirty="0">
                <a:latin typeface="Cambria" pitchFamily="18" charset="0"/>
              </a:rPr>
              <a:t>Destination Management Organizations (DMOs) of certain regions of each country </a:t>
            </a:r>
            <a:r>
              <a:rPr lang="en-US" sz="2200" dirty="0">
                <a:latin typeface="Cambria" pitchFamily="18" charset="0"/>
              </a:rPr>
              <a:t>could collaborate with universities to promote their regions to Erasmus students</a:t>
            </a:r>
            <a:endParaRPr lang="pt-PT" sz="2200" dirty="0">
              <a:latin typeface="Cambria" pitchFamily="18" charset="0"/>
            </a:endParaRP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60DBC842-9672-4E9B-B2B9-B6A791FDC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5008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12AA6EC5-02DF-4402-9AA0-A7169D419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1A17CA84-E707-4D83-B3B6-0B01B740D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4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BC77AFB8-16C8-4824-A2C4-4B601A1F0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694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4" name="Rectangle 11">
            <a:extLst>
              <a:ext uri="{FF2B5EF4-FFF2-40B4-BE49-F238E27FC236}">
                <a16:creationId xmlns:a16="http://schemas.microsoft.com/office/drawing/2014/main" id="{4464473B-6518-4A7C-A7EA-2806276931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5" name="Rectangle 11">
            <a:extLst>
              <a:ext uri="{FF2B5EF4-FFF2-40B4-BE49-F238E27FC236}">
                <a16:creationId xmlns:a16="http://schemas.microsoft.com/office/drawing/2014/main" id="{2CF60D2D-6C0D-4A7C-98FA-8AD773514D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7807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6" name="Rectângulo 13">
            <a:extLst>
              <a:ext uri="{FF2B5EF4-FFF2-40B4-BE49-F238E27FC236}">
                <a16:creationId xmlns:a16="http://schemas.microsoft.com/office/drawing/2014/main" id="{F7819B5D-30A4-441D-92FA-E4BD00A9B8E1}"/>
              </a:ext>
            </a:extLst>
          </p:cNvPr>
          <p:cNvSpPr/>
          <p:nvPr/>
        </p:nvSpPr>
        <p:spPr>
          <a:xfrm>
            <a:off x="251795" y="1903152"/>
            <a:ext cx="8352928" cy="769441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Cambria" pitchFamily="18" charset="0"/>
              </a:rPr>
              <a:t>Facilitate trips to the most interesting and beautiful places the country has to offer </a:t>
            </a:r>
          </a:p>
        </p:txBody>
      </p:sp>
    </p:spTree>
    <p:extLst>
      <p:ext uri="{BB962C8B-B14F-4D97-AF65-F5344CB8AC3E}">
        <p14:creationId xmlns:p14="http://schemas.microsoft.com/office/powerpoint/2010/main" val="14469319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808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897" grpId="0" animBg="1"/>
      <p:bldP spid="14" grpId="0" animBg="1"/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59073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Limitations and Future Research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ctângulo 12"/>
          <p:cNvSpPr/>
          <p:nvPr/>
        </p:nvSpPr>
        <p:spPr>
          <a:xfrm>
            <a:off x="395536" y="908720"/>
            <a:ext cx="8424936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Countries are not equally represented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22" name="Rectângulo 21"/>
          <p:cNvSpPr/>
          <p:nvPr/>
        </p:nvSpPr>
        <p:spPr>
          <a:xfrm>
            <a:off x="179512" y="2872648"/>
            <a:ext cx="8424936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Compare countries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2" name="Rectângulo 21">
            <a:extLst>
              <a:ext uri="{FF2B5EF4-FFF2-40B4-BE49-F238E27FC236}">
                <a16:creationId xmlns:a16="http://schemas.microsoft.com/office/drawing/2014/main" id="{64287222-6930-4F3D-BC82-ED7DEC889D77}"/>
              </a:ext>
            </a:extLst>
          </p:cNvPr>
          <p:cNvSpPr/>
          <p:nvPr/>
        </p:nvSpPr>
        <p:spPr>
          <a:xfrm>
            <a:off x="179512" y="3589715"/>
            <a:ext cx="8424936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Examine more factors that influence Country Brand Love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5" name="Rectângulo 21">
            <a:extLst>
              <a:ext uri="{FF2B5EF4-FFF2-40B4-BE49-F238E27FC236}">
                <a16:creationId xmlns:a16="http://schemas.microsoft.com/office/drawing/2014/main" id="{F7AD16AB-BBC5-4CC8-9163-33BAF5C9D6A5}"/>
              </a:ext>
            </a:extLst>
          </p:cNvPr>
          <p:cNvSpPr/>
          <p:nvPr/>
        </p:nvSpPr>
        <p:spPr>
          <a:xfrm>
            <a:off x="179512" y="4424634"/>
            <a:ext cx="8424936" cy="461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Apply the model to tourists</a:t>
            </a:r>
            <a:endParaRPr lang="pt-PT" dirty="0">
              <a:latin typeface="Cambria" pitchFamily="18" charset="0"/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1ACFFC57-9BC4-422B-A334-D2D532EA12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25008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FFDE84FD-8AD5-4AED-93D2-4C2C3AF2C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F2270268-07FC-44FB-ABE6-5FE6E821B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4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A56912D9-4098-4A6A-B6A8-1167AA8AA6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694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1" name="Rectangle 11">
            <a:extLst>
              <a:ext uri="{FF2B5EF4-FFF2-40B4-BE49-F238E27FC236}">
                <a16:creationId xmlns:a16="http://schemas.microsoft.com/office/drawing/2014/main" id="{7F79A0A3-307D-44ED-82C6-8E658D1FF6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3" name="Rectangle 11">
            <a:extLst>
              <a:ext uri="{FF2B5EF4-FFF2-40B4-BE49-F238E27FC236}">
                <a16:creationId xmlns:a16="http://schemas.microsoft.com/office/drawing/2014/main" id="{DB819E6F-1D91-4F2C-8A4A-D5B12A9A89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7807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22" grpId="0" animBg="1"/>
      <p:bldP spid="12" grpId="0" animBg="1"/>
      <p:bldP spid="1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22958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Conclusions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ctângulo 12"/>
          <p:cNvSpPr/>
          <p:nvPr/>
        </p:nvSpPr>
        <p:spPr>
          <a:xfrm>
            <a:off x="287685" y="1124744"/>
            <a:ext cx="8424936" cy="1569660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3200" dirty="0">
                <a:latin typeface="Cambria" pitchFamily="18" charset="0"/>
              </a:rPr>
              <a:t>This study contributes to the scarce literature regarding the concept of brand love applied to places. </a:t>
            </a:r>
            <a:endParaRPr lang="pt-PT" sz="3200" dirty="0">
              <a:latin typeface="Cambria" pitchFamily="18" charset="0"/>
            </a:endParaRPr>
          </a:p>
        </p:txBody>
      </p:sp>
      <p:sp>
        <p:nvSpPr>
          <p:cNvPr id="6" name="Rectângulo 12">
            <a:extLst>
              <a:ext uri="{FF2B5EF4-FFF2-40B4-BE49-F238E27FC236}">
                <a16:creationId xmlns:a16="http://schemas.microsoft.com/office/drawing/2014/main" id="{99D6E131-2515-4B25-AC1C-A9341443350D}"/>
              </a:ext>
            </a:extLst>
          </p:cNvPr>
          <p:cNvSpPr/>
          <p:nvPr/>
        </p:nvSpPr>
        <p:spPr>
          <a:xfrm>
            <a:off x="274501" y="2996952"/>
            <a:ext cx="8424936" cy="3046988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3200" dirty="0">
                <a:latin typeface="Cambria" pitchFamily="18" charset="0"/>
              </a:rPr>
              <a:t>It also evidences the important role that Erasmus students have, </a:t>
            </a:r>
            <a:r>
              <a:rPr lang="en-US" sz="3200" dirty="0">
                <a:latin typeface="Cambria" pitchFamily="18" charset="0"/>
              </a:rPr>
              <a:t>raising awareness for the need to provide favorable experiences to Erasmus students, so that they will create a positive image of the country and recommend it to others.</a:t>
            </a:r>
            <a:endParaRPr lang="pt-PT" sz="3200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11" name="Diagram 2">
            <a:extLst>
              <a:ext uri="{FF2B5EF4-FFF2-40B4-BE49-F238E27FC236}">
                <a16:creationId xmlns:a16="http://schemas.microsoft.com/office/drawing/2014/main" id="{D0BA7766-967E-4C9C-883F-EB0E105FEA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0452059"/>
              </p:ext>
            </p:extLst>
          </p:nvPr>
        </p:nvGraphicFramePr>
        <p:xfrm>
          <a:off x="685800" y="836676"/>
          <a:ext cx="7772400" cy="5184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A4D9E059-1CF5-46B4-9BDC-6A89B9F2C8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>
                                            <p:graphicEl>
                                              <a:dgm id="{A4D9E059-1CF5-46B4-9BDC-6A89B9F2C8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>
                                            <p:graphicEl>
                                              <a:dgm id="{A4D9E059-1CF5-46B4-9BDC-6A89B9F2C8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1">
                                            <p:graphicEl>
                                              <a:dgm id="{A4D9E059-1CF5-46B4-9BDC-6A89B9F2C81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35894D2A-7448-4EEF-BE7A-AFECDF46E8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" dur="1000"/>
                                        <p:tgtEl>
                                          <p:spTgt spid="11">
                                            <p:graphicEl>
                                              <a:dgm id="{35894D2A-7448-4EEF-BE7A-AFECDF46E87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261419D1-020B-4657-BF78-9F0E18F7ED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6" dur="1000"/>
                                        <p:tgtEl>
                                          <p:spTgt spid="11">
                                            <p:graphicEl>
                                              <a:dgm id="{261419D1-020B-4657-BF78-9F0E18F7ED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94D001CF-E85D-43CF-A52B-834DD35C68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9" dur="1000"/>
                                        <p:tgtEl>
                                          <p:spTgt spid="11">
                                            <p:graphicEl>
                                              <a:dgm id="{94D001CF-E85D-43CF-A52B-834DD35C680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0CD42C0B-1FA3-425E-90C8-A1C3A2B21B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2" dur="1000"/>
                                        <p:tgtEl>
                                          <p:spTgt spid="11">
                                            <p:graphicEl>
                                              <a:dgm id="{0CD42C0B-1FA3-425E-90C8-A1C3A2B21B0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 uiExpand="1">
        <p:bldSub>
          <a:bldDgm bld="one"/>
        </p:bldSub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124744"/>
            <a:ext cx="2376264" cy="4283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1124744"/>
            <a:ext cx="2552700" cy="148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3052335"/>
            <a:ext cx="1542256" cy="235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2368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3" name="Rectângulo 2"/>
          <p:cNvSpPr/>
          <p:nvPr/>
        </p:nvSpPr>
        <p:spPr>
          <a:xfrm>
            <a:off x="274501" y="131802"/>
            <a:ext cx="463780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The Erasmus Programme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0" name="Rectângulo 9"/>
          <p:cNvSpPr/>
          <p:nvPr/>
        </p:nvSpPr>
        <p:spPr>
          <a:xfrm>
            <a:off x="347260" y="873854"/>
            <a:ext cx="8568952" cy="830997"/>
          </a:xfrm>
          <a:prstGeom prst="rect">
            <a:avLst/>
          </a:prstGeom>
          <a:ln w="22225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European Union student exchange programme launched in 1987.</a:t>
            </a:r>
            <a:endParaRPr lang="pt-PT" sz="2400" dirty="0">
              <a:latin typeface="Cambria" pitchFamily="18" charset="0"/>
            </a:endParaRPr>
          </a:p>
        </p:txBody>
      </p:sp>
      <p:sp>
        <p:nvSpPr>
          <p:cNvPr id="14" name="Rectângulo 13"/>
          <p:cNvSpPr/>
          <p:nvPr/>
        </p:nvSpPr>
        <p:spPr>
          <a:xfrm>
            <a:off x="341784" y="1856986"/>
            <a:ext cx="8568952" cy="3416320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r>
              <a:rPr lang="en-GB" sz="2400" dirty="0">
                <a:latin typeface="Cambria" pitchFamily="18" charset="0"/>
              </a:rPr>
              <a:t>Objective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Improve personal development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Improve involvement as considerate and active citizens in society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Improve employability in the European labor market and beyond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Develop a sense of European citizenship and identity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Acquire foreign languages competences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>
                <a:latin typeface="Cambria" pitchFamily="18" charset="0"/>
              </a:rPr>
              <a:t>Understand other cultures</a:t>
            </a:r>
            <a:endParaRPr lang="pt-PT" sz="2400" dirty="0">
              <a:latin typeface="Cambria" pitchFamily="18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6" name="Rectângulo 10">
            <a:extLst>
              <a:ext uri="{FF2B5EF4-FFF2-40B4-BE49-F238E27FC236}">
                <a16:creationId xmlns:a16="http://schemas.microsoft.com/office/drawing/2014/main" id="{9CDD3703-2EC2-4EAD-99F5-BFB8B554E571}"/>
              </a:ext>
            </a:extLst>
          </p:cNvPr>
          <p:cNvSpPr/>
          <p:nvPr/>
        </p:nvSpPr>
        <p:spPr>
          <a:xfrm>
            <a:off x="316632" y="5425441"/>
            <a:ext cx="8568952" cy="830997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In 2014, the European Commission created the Erasmus +  programme for the period of 2014-2020.</a:t>
            </a:r>
            <a:endParaRPr lang="pt-PT" sz="2400" dirty="0">
              <a:latin typeface="Cambria" pitchFamily="18" charset="0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4FD6308C-4ADE-4082-87BD-47AD9EDF44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91058" y="77835"/>
            <a:ext cx="1078441" cy="692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49" name="Rectangle 1"/>
          <p:cNvSpPr>
            <a:spLocks noChangeArrowheads="1"/>
          </p:cNvSpPr>
          <p:nvPr/>
        </p:nvSpPr>
        <p:spPr bwMode="auto">
          <a:xfrm>
            <a:off x="6876256" y="4941168"/>
            <a:ext cx="190770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ko-KR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European identity and loyalty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ko-K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</a:t>
            </a:r>
            <a:r>
              <a:rPr kumimoji="0" lang="en-GB" altLang="ko-KR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Oborune</a:t>
            </a:r>
            <a:r>
              <a:rPr kumimoji="0" lang="en-GB" altLang="ko-K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, 2013)</a:t>
            </a:r>
            <a:endParaRPr kumimoji="0" lang="en-GB" altLang="ko-K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ângulo 10"/>
          <p:cNvSpPr/>
          <p:nvPr/>
        </p:nvSpPr>
        <p:spPr>
          <a:xfrm>
            <a:off x="323528" y="1052736"/>
            <a:ext cx="8568952" cy="830997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Over the past 30 years, this programme has enriched the lives of more than 9 million direct participants.</a:t>
            </a:r>
            <a:endParaRPr lang="pt-PT" sz="2400" dirty="0">
              <a:latin typeface="Cambria" pitchFamily="18" charset="0"/>
            </a:endParaRPr>
          </a:p>
        </p:txBody>
      </p:sp>
      <p:sp>
        <p:nvSpPr>
          <p:cNvPr id="14" name="Rectângulo 13"/>
          <p:cNvSpPr/>
          <p:nvPr/>
        </p:nvSpPr>
        <p:spPr>
          <a:xfrm>
            <a:off x="323528" y="4941168"/>
            <a:ext cx="22322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altLang="ko-KR" sz="20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Professional careers</a:t>
            </a:r>
            <a:r>
              <a:rPr lang="en-US" altLang="ko-KR" sz="20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 and academic development </a:t>
            </a:r>
          </a:p>
          <a:p>
            <a:pPr algn="ctr"/>
            <a:r>
              <a:rPr lang="en-US" altLang="ko-KR" sz="12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Engel, 2010)</a:t>
            </a:r>
            <a:endParaRPr lang="pt-PT" sz="1200" dirty="0"/>
          </a:p>
        </p:txBody>
      </p:sp>
      <p:sp>
        <p:nvSpPr>
          <p:cNvPr id="15" name="Rectângulo 14"/>
          <p:cNvSpPr/>
          <p:nvPr/>
        </p:nvSpPr>
        <p:spPr>
          <a:xfrm>
            <a:off x="3563888" y="4941168"/>
            <a:ext cx="228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GB" altLang="ko-KR" sz="20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Individual skills enhancement and employability</a:t>
            </a:r>
          </a:p>
          <a:p>
            <a:pPr algn="ctr"/>
            <a:r>
              <a:rPr lang="en-GB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European </a:t>
            </a:r>
            <a:r>
              <a:rPr lang="en-GB" altLang="ko-KR" sz="1200" dirty="0" err="1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Comission</a:t>
            </a:r>
            <a:r>
              <a:rPr lang="en-GB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, 2016a) </a:t>
            </a:r>
            <a:endParaRPr lang="pt-PT" dirty="0"/>
          </a:p>
        </p:txBody>
      </p:sp>
      <p:sp>
        <p:nvSpPr>
          <p:cNvPr id="16" name="Rectângulo 15"/>
          <p:cNvSpPr/>
          <p:nvPr/>
        </p:nvSpPr>
        <p:spPr>
          <a:xfrm>
            <a:off x="3347864" y="2348880"/>
            <a:ext cx="2520280" cy="461665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2400" dirty="0">
                <a:latin typeface="Cambria" pitchFamily="18" charset="0"/>
              </a:rPr>
              <a:t>Positive Impacts</a:t>
            </a:r>
            <a:endParaRPr lang="pt-PT" sz="2400" dirty="0">
              <a:latin typeface="Cambria" pitchFamily="18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8" y="3212976"/>
            <a:ext cx="2090074" cy="169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3068960"/>
            <a:ext cx="3156397" cy="182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3140968"/>
            <a:ext cx="2627784" cy="1814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5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3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8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" dur="500"/>
                                        <p:tgtEl>
                                          <p:spTgt spid="2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9" grpId="0"/>
      <p:bldP spid="11" grpId="0" animBg="1"/>
      <p:bldP spid="14" grpId="0"/>
      <p:bldP spid="15" grpId="0"/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ectângulo 13"/>
          <p:cNvSpPr/>
          <p:nvPr/>
        </p:nvSpPr>
        <p:spPr>
          <a:xfrm>
            <a:off x="899592" y="836712"/>
            <a:ext cx="7344816" cy="461665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altLang="ko-KR" sz="24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Benefits for the countries that receive foreign students</a:t>
            </a:r>
            <a:endParaRPr lang="pt-PT" sz="2400" dirty="0"/>
          </a:p>
        </p:txBody>
      </p:sp>
      <p:sp>
        <p:nvSpPr>
          <p:cNvPr id="15" name="Rectângulo 14"/>
          <p:cNvSpPr/>
          <p:nvPr/>
        </p:nvSpPr>
        <p:spPr>
          <a:xfrm>
            <a:off x="0" y="3501008"/>
            <a:ext cx="309634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20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Foreign students may contribute to scientific, technological and economic competiveness and promote socio-cultural progression </a:t>
            </a:r>
          </a:p>
          <a:p>
            <a:pPr algn="ctr"/>
            <a:r>
              <a:rPr lang="en-US" altLang="ko-KR" sz="12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</a:t>
            </a:r>
            <a:r>
              <a:rPr lang="en-US" altLang="ko-KR" sz="1200" dirty="0" err="1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Bodycott</a:t>
            </a:r>
            <a:r>
              <a:rPr lang="en-US" altLang="ko-KR" sz="1200" dirty="0"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, 2009) </a:t>
            </a:r>
            <a:endParaRPr lang="pt-PT" sz="1200" dirty="0"/>
          </a:p>
        </p:txBody>
      </p:sp>
      <p:sp>
        <p:nvSpPr>
          <p:cNvPr id="16" name="Rectângulo 15"/>
          <p:cNvSpPr/>
          <p:nvPr/>
        </p:nvSpPr>
        <p:spPr>
          <a:xfrm>
            <a:off x="6372200" y="3933056"/>
            <a:ext cx="2520280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ko-KR" sz="20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Crucial to achieve a knowledge society and build an international quality profile </a:t>
            </a:r>
          </a:p>
          <a:p>
            <a:pPr algn="ctr"/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</a:t>
            </a:r>
            <a:r>
              <a:rPr lang="en-US" altLang="ko-KR" sz="1200" dirty="0" err="1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Muche</a:t>
            </a:r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 &amp; </a:t>
            </a:r>
            <a:r>
              <a:rPr lang="en-US" altLang="ko-KR" sz="1200" dirty="0" err="1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Wachter</a:t>
            </a:r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, 2005). </a:t>
            </a:r>
            <a:endParaRPr lang="pt-PT" dirty="0"/>
          </a:p>
        </p:txBody>
      </p:sp>
      <p:sp>
        <p:nvSpPr>
          <p:cNvPr id="17" name="Rectângulo 16"/>
          <p:cNvSpPr/>
          <p:nvPr/>
        </p:nvSpPr>
        <p:spPr>
          <a:xfrm>
            <a:off x="3491880" y="4005064"/>
            <a:ext cx="2286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ko-KR" sz="20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Pathway to promote skilled migration </a:t>
            </a:r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(</a:t>
            </a:r>
            <a:r>
              <a:rPr lang="en-US" altLang="ko-KR" sz="1200" dirty="0" err="1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Muche</a:t>
            </a:r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 &amp; </a:t>
            </a:r>
            <a:r>
              <a:rPr lang="en-US" altLang="ko-KR" sz="1200" dirty="0" err="1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Wachter</a:t>
            </a:r>
            <a:r>
              <a:rPr lang="en-US" altLang="ko-KR" sz="12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, 2005).</a:t>
            </a:r>
            <a:r>
              <a:rPr lang="en-US" altLang="ko-KR" sz="1000" dirty="0">
                <a:solidFill>
                  <a:prstClr val="black"/>
                </a:solidFill>
                <a:latin typeface="Times New Roman" pitchFamily="18" charset="0"/>
                <a:ea typeface="BatangChe" pitchFamily="49" charset="-127"/>
                <a:cs typeface="Times New Roman" pitchFamily="18" charset="0"/>
              </a:rPr>
              <a:t> </a:t>
            </a:r>
            <a:endParaRPr lang="pt-PT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700808"/>
            <a:ext cx="2694852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9872" y="1556792"/>
            <a:ext cx="2440485" cy="2279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192" y="1772816"/>
            <a:ext cx="2657475" cy="2076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10"/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4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96605" y="749455"/>
            <a:ext cx="8878781" cy="830997"/>
          </a:xfrm>
          <a:prstGeom prst="rect">
            <a:avLst/>
          </a:prstGeom>
          <a:noFill/>
          <a:ln w="19050">
            <a:solidFill>
              <a:srgbClr val="76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ko-KR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mbria" pitchFamily="18" charset="0"/>
                <a:ea typeface="BatangChe" pitchFamily="49" charset="-127"/>
                <a:cs typeface="Times New Roman" pitchFamily="18" charset="0"/>
              </a:rPr>
              <a:t>Limited studies focusing on how foreign students, in particular the Erasmus students, can be future “ambassadors” of the host country. </a:t>
            </a:r>
            <a:endParaRPr kumimoji="0" lang="en-US" altLang="ko-KR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mbria" pitchFamily="18" charset="0"/>
              <a:cs typeface="Arial" pitchFamily="34" charset="0"/>
            </a:endParaRPr>
          </a:p>
        </p:txBody>
      </p:sp>
      <p:pic>
        <p:nvPicPr>
          <p:cNvPr id="18" name="Picture 2" descr="C:\Users\utilizador\Desktop\Informação IPV - Novos Erasmus IPV à descoberta de Viseu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629888"/>
            <a:ext cx="4968552" cy="4704598"/>
          </a:xfrm>
          <a:prstGeom prst="rect">
            <a:avLst/>
          </a:prstGeom>
          <a:noFill/>
        </p:spPr>
      </p:pic>
      <p:sp>
        <p:nvSpPr>
          <p:cNvPr id="14" name="Rectangle 10"/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11" name="Rectângulo 13">
            <a:extLst>
              <a:ext uri="{FF2B5EF4-FFF2-40B4-BE49-F238E27FC236}">
                <a16:creationId xmlns:a16="http://schemas.microsoft.com/office/drawing/2014/main" id="{2799654A-8CE7-40F3-978E-DFA509D27CFC}"/>
              </a:ext>
            </a:extLst>
          </p:cNvPr>
          <p:cNvSpPr/>
          <p:nvPr/>
        </p:nvSpPr>
        <p:spPr>
          <a:xfrm>
            <a:off x="5581410" y="2692225"/>
            <a:ext cx="3384376" cy="3416320"/>
          </a:xfrm>
          <a:prstGeom prst="rect">
            <a:avLst/>
          </a:prstGeom>
          <a:ln w="19050">
            <a:solidFill>
              <a:srgbClr val="760000"/>
            </a:solidFill>
          </a:ln>
        </p:spPr>
        <p:txBody>
          <a:bodyPr wrap="square">
            <a:spAutoFit/>
          </a:bodyPr>
          <a:lstStyle/>
          <a:p>
            <a:r>
              <a:rPr lang="en-US" sz="2400" dirty="0">
                <a:latin typeface="Cambria" pitchFamily="18" charset="0"/>
              </a:rPr>
              <a:t> - Can Brand Love be applied to countries?</a:t>
            </a:r>
          </a:p>
          <a:p>
            <a:endParaRPr lang="en-US" sz="2400" dirty="0">
              <a:latin typeface="Cambria" pitchFamily="18" charset="0"/>
            </a:endParaRPr>
          </a:p>
          <a:p>
            <a:r>
              <a:rPr lang="en-US" sz="2400" dirty="0">
                <a:latin typeface="Cambria" pitchFamily="18" charset="0"/>
              </a:rPr>
              <a:t> - What influences Country Brand Love?</a:t>
            </a:r>
          </a:p>
          <a:p>
            <a:endParaRPr lang="en-US" sz="2400" dirty="0">
              <a:latin typeface="Cambria" pitchFamily="18" charset="0"/>
            </a:endParaRPr>
          </a:p>
          <a:p>
            <a:r>
              <a:rPr lang="en-US" sz="2400" dirty="0">
                <a:latin typeface="Cambria" pitchFamily="18" charset="0"/>
              </a:rPr>
              <a:t> - What are the outcomes of Country Brand Love?</a:t>
            </a:r>
          </a:p>
        </p:txBody>
      </p:sp>
      <p:sp>
        <p:nvSpPr>
          <p:cNvPr id="12" name="Rectângulo 2">
            <a:extLst>
              <a:ext uri="{FF2B5EF4-FFF2-40B4-BE49-F238E27FC236}">
                <a16:creationId xmlns:a16="http://schemas.microsoft.com/office/drawing/2014/main" id="{BBAFC580-61F2-4629-9613-2976C3D4BA74}"/>
              </a:ext>
            </a:extLst>
          </p:cNvPr>
          <p:cNvSpPr/>
          <p:nvPr/>
        </p:nvSpPr>
        <p:spPr>
          <a:xfrm>
            <a:off x="5482052" y="2065690"/>
            <a:ext cx="35119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kern="0" dirty="0">
                <a:latin typeface="Cambria" pitchFamily="18" charset="0"/>
              </a:rPr>
              <a:t>Main Aims of the Study</a:t>
            </a:r>
            <a:endParaRPr lang="pt-PT" sz="2400" kern="0" dirty="0"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ângulo 13"/>
          <p:cNvSpPr/>
          <p:nvPr/>
        </p:nvSpPr>
        <p:spPr>
          <a:xfrm>
            <a:off x="6426248" y="2246713"/>
            <a:ext cx="2898279" cy="216024"/>
          </a:xfrm>
          <a:prstGeom prst="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pSp>
        <p:nvGrpSpPr>
          <p:cNvPr id="2" name="Grupo 18"/>
          <p:cNvGrpSpPr/>
          <p:nvPr/>
        </p:nvGrpSpPr>
        <p:grpSpPr>
          <a:xfrm>
            <a:off x="1259632" y="1565855"/>
            <a:ext cx="5616624" cy="1296143"/>
            <a:chOff x="3995192" y="2314712"/>
            <a:chExt cx="4537248" cy="970272"/>
          </a:xfrm>
          <a:solidFill>
            <a:srgbClr val="922122"/>
          </a:solidFill>
        </p:grpSpPr>
        <p:sp>
          <p:nvSpPr>
            <p:cNvPr id="18" name="Rectângulo arredondado 17"/>
            <p:cNvSpPr/>
            <p:nvPr/>
          </p:nvSpPr>
          <p:spPr>
            <a:xfrm>
              <a:off x="3995192" y="2314712"/>
              <a:ext cx="4537248" cy="97027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PT"/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4053362" y="2577448"/>
              <a:ext cx="4393232" cy="43775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/>
                  </a:solidFill>
                  <a:latin typeface="Cambria" pitchFamily="18" charset="0"/>
                </a:rPr>
                <a:t>Erasmus students behaviors</a:t>
              </a:r>
              <a:endParaRPr lang="pt-PT" sz="3200" dirty="0">
                <a:solidFill>
                  <a:schemeClr val="bg1"/>
                </a:solidFill>
                <a:latin typeface="Cambria" pitchFamily="18" charset="0"/>
              </a:endParaRPr>
            </a:p>
          </p:txBody>
        </p:sp>
      </p:grpSp>
      <p:sp>
        <p:nvSpPr>
          <p:cNvPr id="15" name="Rectângulo 14"/>
          <p:cNvSpPr/>
          <p:nvPr/>
        </p:nvSpPr>
        <p:spPr>
          <a:xfrm>
            <a:off x="-34838" y="2222988"/>
            <a:ext cx="1331640" cy="216024"/>
          </a:xfrm>
          <a:prstGeom prst="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ângulo arredondado 9"/>
          <p:cNvSpPr/>
          <p:nvPr/>
        </p:nvSpPr>
        <p:spPr>
          <a:xfrm>
            <a:off x="3923928" y="2994025"/>
            <a:ext cx="4841767" cy="720080"/>
          </a:xfrm>
          <a:prstGeom prst="round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Cambria" pitchFamily="18" charset="0"/>
              </a:rPr>
              <a:t>Actively visit other cities </a:t>
            </a:r>
          </a:p>
          <a:p>
            <a:pPr algn="ctr"/>
            <a:r>
              <a:rPr lang="en-GB" sz="1200" dirty="0">
                <a:latin typeface="Cambria" pitchFamily="18" charset="0"/>
              </a:rPr>
              <a:t>(</a:t>
            </a:r>
            <a:r>
              <a:rPr lang="en-US" sz="1200" dirty="0" err="1">
                <a:latin typeface="Cambria" pitchFamily="18" charset="0"/>
              </a:rPr>
              <a:t>Pawlowska</a:t>
            </a:r>
            <a:r>
              <a:rPr lang="en-US" sz="1200" dirty="0">
                <a:latin typeface="Cambria" pitchFamily="18" charset="0"/>
              </a:rPr>
              <a:t> &amp; Roget,2009; Roget, </a:t>
            </a:r>
            <a:r>
              <a:rPr lang="en-US" sz="1200" dirty="0" err="1">
                <a:latin typeface="Cambria" pitchFamily="18" charset="0"/>
              </a:rPr>
              <a:t>López</a:t>
            </a:r>
            <a:r>
              <a:rPr lang="en-US" sz="1200" dirty="0">
                <a:latin typeface="Cambria" pitchFamily="18" charset="0"/>
              </a:rPr>
              <a:t>, &amp; </a:t>
            </a:r>
            <a:r>
              <a:rPr lang="en-US" sz="1200" dirty="0" err="1">
                <a:latin typeface="Cambria" pitchFamily="18" charset="0"/>
              </a:rPr>
              <a:t>Pawlowska</a:t>
            </a:r>
            <a:r>
              <a:rPr lang="en-US" sz="1200" dirty="0">
                <a:latin typeface="Cambria" pitchFamily="18" charset="0"/>
              </a:rPr>
              <a:t>, 2013</a:t>
            </a:r>
            <a:r>
              <a:rPr lang="pt-PT" sz="1200" dirty="0">
                <a:latin typeface="Cambria" pitchFamily="18" charset="0"/>
              </a:rPr>
              <a:t>; </a:t>
            </a:r>
            <a:r>
              <a:rPr lang="en-US" sz="1200" dirty="0">
                <a:latin typeface="Cambria" pitchFamily="18" charset="0"/>
              </a:rPr>
              <a:t>Gardiner, King, &amp; Wilkins, 2013)</a:t>
            </a:r>
            <a:endParaRPr lang="en-GB" sz="1200" dirty="0">
              <a:latin typeface="Cambria" pitchFamily="18" charset="0"/>
            </a:endParaRPr>
          </a:p>
        </p:txBody>
      </p:sp>
      <p:sp>
        <p:nvSpPr>
          <p:cNvPr id="21" name="Rectângulo arredondado 20"/>
          <p:cNvSpPr/>
          <p:nvPr/>
        </p:nvSpPr>
        <p:spPr>
          <a:xfrm>
            <a:off x="3923928" y="4651037"/>
            <a:ext cx="4781469" cy="707886"/>
          </a:xfrm>
          <a:prstGeom prst="round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latin typeface="Cambria" panose="02040503050406030204" pitchFamily="18" charset="0"/>
              </a:rPr>
              <a:t>Intend to return</a:t>
            </a:r>
          </a:p>
          <a:p>
            <a:pPr algn="ctr"/>
            <a:r>
              <a:rPr lang="en-US" sz="1400" dirty="0">
                <a:latin typeface="Cambria" pitchFamily="18" charset="0"/>
              </a:rPr>
              <a:t>(Gardiner, King, &amp; Wilkins, 2013; </a:t>
            </a:r>
            <a:r>
              <a:rPr lang="en-US" sz="1400" dirty="0" err="1">
                <a:latin typeface="Cambria" pitchFamily="18" charset="0"/>
              </a:rPr>
              <a:t>Pawlowska</a:t>
            </a:r>
            <a:r>
              <a:rPr lang="en-US" sz="1400" dirty="0">
                <a:latin typeface="Cambria" pitchFamily="18" charset="0"/>
              </a:rPr>
              <a:t> &amp; Roget,2009)</a:t>
            </a:r>
            <a:endParaRPr lang="en-GB" sz="1400" dirty="0">
              <a:latin typeface="Cambria" pitchFamily="18" charset="0"/>
            </a:endParaRPr>
          </a:p>
        </p:txBody>
      </p:sp>
      <p:sp>
        <p:nvSpPr>
          <p:cNvPr id="31" name="Rectângulo arredondado 30"/>
          <p:cNvSpPr/>
          <p:nvPr/>
        </p:nvSpPr>
        <p:spPr>
          <a:xfrm>
            <a:off x="3923928" y="3789685"/>
            <a:ext cx="4833560" cy="720080"/>
          </a:xfrm>
          <a:prstGeom prst="round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200" dirty="0">
                <a:latin typeface="Cambria" panose="02040503050406030204" pitchFamily="18" charset="0"/>
              </a:rPr>
              <a:t>Receive visits from family and friends</a:t>
            </a:r>
          </a:p>
          <a:p>
            <a:pPr algn="ctr"/>
            <a:r>
              <a:rPr lang="en-GB" sz="1400" dirty="0">
                <a:latin typeface="Cambria" pitchFamily="18" charset="0"/>
              </a:rPr>
              <a:t>(</a:t>
            </a:r>
            <a:r>
              <a:rPr lang="en-US" sz="1400" dirty="0" err="1">
                <a:latin typeface="Cambria" pitchFamily="18" charset="0"/>
              </a:rPr>
              <a:t>Pawlowska</a:t>
            </a:r>
            <a:r>
              <a:rPr lang="en-US" sz="1400" dirty="0">
                <a:latin typeface="Cambria" pitchFamily="18" charset="0"/>
              </a:rPr>
              <a:t> &amp; Roget,2009</a:t>
            </a:r>
            <a:r>
              <a:rPr lang="en-GB" sz="1400" dirty="0">
                <a:latin typeface="Cambria" pitchFamily="18" charset="0"/>
              </a:rPr>
              <a:t>)</a:t>
            </a:r>
          </a:p>
        </p:txBody>
      </p:sp>
      <p:sp>
        <p:nvSpPr>
          <p:cNvPr id="32" name="Rectângulo arredondado 31"/>
          <p:cNvSpPr/>
          <p:nvPr/>
        </p:nvSpPr>
        <p:spPr>
          <a:xfrm>
            <a:off x="3923928" y="5445224"/>
            <a:ext cx="4808545" cy="707886"/>
          </a:xfrm>
          <a:prstGeom prst="roundRect">
            <a:avLst/>
          </a:prstGeom>
          <a:solidFill>
            <a:srgbClr val="9221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latin typeface="Cambria" panose="02040503050406030204" pitchFamily="18" charset="0"/>
              </a:rPr>
              <a:t>Recommend the country</a:t>
            </a:r>
          </a:p>
          <a:p>
            <a:pPr algn="ctr"/>
            <a:r>
              <a:rPr lang="en-GB" sz="1400" dirty="0">
                <a:latin typeface="Cambria" pitchFamily="18" charset="0"/>
              </a:rPr>
              <a:t>(</a:t>
            </a:r>
            <a:r>
              <a:rPr lang="en-US" sz="1400" dirty="0" err="1">
                <a:latin typeface="Cambria" pitchFamily="18" charset="0"/>
              </a:rPr>
              <a:t>Pawlowska</a:t>
            </a:r>
            <a:r>
              <a:rPr lang="en-US" sz="1400" dirty="0">
                <a:latin typeface="Cambria" pitchFamily="18" charset="0"/>
              </a:rPr>
              <a:t> &amp; Roget,2009</a:t>
            </a:r>
            <a:r>
              <a:rPr lang="en-GB" sz="1400" dirty="0">
                <a:latin typeface="Cambria" pitchFamily="18" charset="0"/>
              </a:rPr>
              <a:t>)</a:t>
            </a:r>
          </a:p>
        </p:txBody>
      </p:sp>
      <p:sp>
        <p:nvSpPr>
          <p:cNvPr id="16" name="Rectângulo 15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0" name="Rectângulo 19"/>
          <p:cNvSpPr/>
          <p:nvPr/>
        </p:nvSpPr>
        <p:spPr>
          <a:xfrm>
            <a:off x="274501" y="131802"/>
            <a:ext cx="88694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3200" kern="0" dirty="0">
                <a:latin typeface="Cambria" pitchFamily="18" charset="0"/>
              </a:rPr>
              <a:t>Literature Review</a:t>
            </a:r>
            <a:r>
              <a:rPr lang="en-US" sz="3200" b="1" dirty="0"/>
              <a:t> </a:t>
            </a:r>
            <a:endParaRPr lang="pt-PT" sz="2400" kern="0" dirty="0">
              <a:latin typeface="Cambria" pitchFamily="18" charset="0"/>
            </a:endParaRPr>
          </a:p>
        </p:txBody>
      </p:sp>
      <p:sp>
        <p:nvSpPr>
          <p:cNvPr id="24" name="Rectangle 10">
            <a:extLst>
              <a:ext uri="{FF2B5EF4-FFF2-40B4-BE49-F238E27FC236}">
                <a16:creationId xmlns:a16="http://schemas.microsoft.com/office/drawing/2014/main" id="{04639CBD-9677-4B4B-89FC-5D28CE4090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26" name="Rectangle 11">
            <a:extLst>
              <a:ext uri="{FF2B5EF4-FFF2-40B4-BE49-F238E27FC236}">
                <a16:creationId xmlns:a16="http://schemas.microsoft.com/office/drawing/2014/main" id="{DD9A878F-E7FF-4F39-90FA-326264D8C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C6098080-7E2E-4C74-839A-31E0551322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8" name="Rectangle 9">
            <a:extLst>
              <a:ext uri="{FF2B5EF4-FFF2-40B4-BE49-F238E27FC236}">
                <a16:creationId xmlns:a16="http://schemas.microsoft.com/office/drawing/2014/main" id="{565D6ED2-8605-40CC-AD99-54A02968C7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rgbClr val="760000"/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29" name="Rectangle 11">
            <a:extLst>
              <a:ext uri="{FF2B5EF4-FFF2-40B4-BE49-F238E27FC236}">
                <a16:creationId xmlns:a16="http://schemas.microsoft.com/office/drawing/2014/main" id="{34A003E6-80B8-4BEC-BA67-3B13AE109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1EF29554-A6B5-4249-B792-2BEB4A57CA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2974165589"/>
      </p:ext>
    </p:extLst>
  </p:cSld>
  <p:clrMapOvr>
    <a:masterClrMapping/>
  </p:clrMapOvr>
  <p:transition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1" grpId="0" animBg="1"/>
      <p:bldP spid="31" grpId="0" animBg="1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2051720" y="8367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PT" dirty="0"/>
          </a:p>
        </p:txBody>
      </p:sp>
      <p:sp>
        <p:nvSpPr>
          <p:cNvPr id="5" name="Oval 4"/>
          <p:cNvSpPr/>
          <p:nvPr/>
        </p:nvSpPr>
        <p:spPr>
          <a:xfrm>
            <a:off x="6804248" y="476672"/>
            <a:ext cx="1656184" cy="864096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Cambria" panose="02040503050406030204" pitchFamily="18" charset="0"/>
              </a:rPr>
              <a:t>WOM</a:t>
            </a:r>
          </a:p>
        </p:txBody>
      </p:sp>
      <p:sp>
        <p:nvSpPr>
          <p:cNvPr id="6" name="Oval 5"/>
          <p:cNvSpPr/>
          <p:nvPr/>
        </p:nvSpPr>
        <p:spPr>
          <a:xfrm>
            <a:off x="6804248" y="1484784"/>
            <a:ext cx="1656184" cy="864096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Cambria" panose="02040503050406030204" pitchFamily="18" charset="0"/>
              </a:rPr>
              <a:t>e-WOM</a:t>
            </a:r>
          </a:p>
        </p:txBody>
      </p:sp>
      <p:sp>
        <p:nvSpPr>
          <p:cNvPr id="7" name="Oval 6"/>
          <p:cNvSpPr/>
          <p:nvPr/>
        </p:nvSpPr>
        <p:spPr>
          <a:xfrm>
            <a:off x="6804248" y="2636912"/>
            <a:ext cx="1656184" cy="936104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PT" dirty="0">
                <a:solidFill>
                  <a:schemeClr val="bg1"/>
                </a:solidFill>
                <a:latin typeface="Cambria" panose="02040503050406030204" pitchFamily="18" charset="0"/>
              </a:rPr>
              <a:t>WOM</a:t>
            </a:r>
          </a:p>
          <a:p>
            <a:pPr algn="ctr"/>
            <a:r>
              <a:rPr lang="pt-PT" dirty="0" err="1">
                <a:solidFill>
                  <a:schemeClr val="bg1"/>
                </a:solidFill>
                <a:latin typeface="Cambria" panose="02040503050406030204" pitchFamily="18" charset="0"/>
              </a:rPr>
              <a:t>intensity</a:t>
            </a:r>
            <a:endParaRPr lang="pt-PT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6804248" y="3717032"/>
            <a:ext cx="1656184" cy="1008112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mbria" panose="02040503050406030204" pitchFamily="18" charset="0"/>
              </a:rPr>
              <a:t>Recommendation</a:t>
            </a:r>
          </a:p>
        </p:txBody>
      </p:sp>
      <p:grpSp>
        <p:nvGrpSpPr>
          <p:cNvPr id="10" name="Grupo 16"/>
          <p:cNvGrpSpPr/>
          <p:nvPr/>
        </p:nvGrpSpPr>
        <p:grpSpPr>
          <a:xfrm>
            <a:off x="395536" y="4365104"/>
            <a:ext cx="5472608" cy="2088232"/>
            <a:chOff x="0" y="0"/>
            <a:chExt cx="11665821" cy="2543872"/>
          </a:xfrm>
          <a:solidFill>
            <a:schemeClr val="tx2">
              <a:lumMod val="75000"/>
            </a:schemeClr>
          </a:solidFill>
        </p:grpSpPr>
        <p:sp>
          <p:nvSpPr>
            <p:cNvPr id="11" name="Arredondar Rectângulo de Canto Diagonal 10"/>
            <p:cNvSpPr/>
            <p:nvPr/>
          </p:nvSpPr>
          <p:spPr>
            <a:xfrm>
              <a:off x="0" y="0"/>
              <a:ext cx="11665821" cy="2543872"/>
            </a:xfrm>
            <a:prstGeom prst="round2Diag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Arredondar Rectângulo de Canto Diagonal 4"/>
            <p:cNvSpPr/>
            <p:nvPr/>
          </p:nvSpPr>
          <p:spPr>
            <a:xfrm>
              <a:off x="276994" y="305266"/>
              <a:ext cx="11148294" cy="20350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74320" tIns="114300" rIns="114300" bIns="114300" numCol="1" spcCol="1270" anchor="ctr" anchorCtr="0">
              <a:noAutofit/>
            </a:bodyPr>
            <a:lstStyle/>
            <a:p>
              <a:pPr lvl="0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dirty="0"/>
                <a:t>“includes passion for the brand, attachment to the brand, positive evaluation of the brand, positive emotions in response to the brand, and declarations of love for the brand</a:t>
              </a:r>
              <a:r>
                <a:rPr lang="en-US" sz="2000" dirty="0"/>
                <a:t>” </a:t>
              </a:r>
              <a:r>
                <a:rPr lang="en-US" sz="1200" dirty="0"/>
                <a:t>(Carroll and </a:t>
              </a:r>
              <a:r>
                <a:rPr lang="en-US" sz="1200" dirty="0" err="1"/>
                <a:t>Ahuvia</a:t>
              </a:r>
              <a:r>
                <a:rPr lang="en-US" sz="1200" dirty="0"/>
                <a:t> 2006, p. 81)</a:t>
              </a:r>
              <a:endParaRPr lang="en-US" sz="1200" kern="1200" dirty="0">
                <a:latin typeface="Cambria" pitchFamily="18" charset="0"/>
              </a:endParaRPr>
            </a:p>
          </p:txBody>
        </p:sp>
      </p:grpSp>
      <p:sp>
        <p:nvSpPr>
          <p:cNvPr id="14" name="Oval 13"/>
          <p:cNvSpPr/>
          <p:nvPr/>
        </p:nvSpPr>
        <p:spPr>
          <a:xfrm>
            <a:off x="3419872" y="2420888"/>
            <a:ext cx="1656184" cy="864096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PT" sz="2000" dirty="0">
                <a:solidFill>
                  <a:schemeClr val="bg1"/>
                </a:solidFill>
                <a:latin typeface="Cambria" panose="02040503050406030204" pitchFamily="18" charset="0"/>
              </a:rPr>
              <a:t>Brand </a:t>
            </a:r>
          </a:p>
          <a:p>
            <a:pPr algn="ctr"/>
            <a:r>
              <a:rPr lang="pt-PT" sz="2000" dirty="0" err="1">
                <a:solidFill>
                  <a:schemeClr val="bg1"/>
                </a:solidFill>
                <a:latin typeface="Cambria" panose="02040503050406030204" pitchFamily="18" charset="0"/>
              </a:rPr>
              <a:t>Love</a:t>
            </a:r>
            <a:endParaRPr lang="pt-PT" sz="2000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cxnSp>
        <p:nvCxnSpPr>
          <p:cNvPr id="15" name="Conexão recta unidireccional 14"/>
          <p:cNvCxnSpPr>
            <a:stCxn id="14" idx="6"/>
            <a:endCxn id="5" idx="2"/>
          </p:cNvCxnSpPr>
          <p:nvPr/>
        </p:nvCxnSpPr>
        <p:spPr>
          <a:xfrm flipV="1">
            <a:off x="5076056" y="908720"/>
            <a:ext cx="1728192" cy="1944216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15"/>
          <p:cNvSpPr txBox="1"/>
          <p:nvPr/>
        </p:nvSpPr>
        <p:spPr>
          <a:xfrm>
            <a:off x="5940152" y="1124744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1</a:t>
            </a:r>
          </a:p>
        </p:txBody>
      </p:sp>
      <p:cxnSp>
        <p:nvCxnSpPr>
          <p:cNvPr id="20" name="Conexão recta unidireccional 19"/>
          <p:cNvCxnSpPr>
            <a:stCxn id="14" idx="6"/>
            <a:endCxn id="6" idx="2"/>
          </p:cNvCxnSpPr>
          <p:nvPr/>
        </p:nvCxnSpPr>
        <p:spPr>
          <a:xfrm flipV="1">
            <a:off x="5076056" y="1916832"/>
            <a:ext cx="1728192" cy="936104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xão recta unidireccional 24"/>
          <p:cNvCxnSpPr>
            <a:stCxn id="14" idx="6"/>
            <a:endCxn id="7" idx="2"/>
          </p:cNvCxnSpPr>
          <p:nvPr/>
        </p:nvCxnSpPr>
        <p:spPr>
          <a:xfrm>
            <a:off x="5076056" y="2852936"/>
            <a:ext cx="1728192" cy="252028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xão recta unidireccional 27"/>
          <p:cNvCxnSpPr>
            <a:stCxn id="14" idx="6"/>
            <a:endCxn id="8" idx="2"/>
          </p:cNvCxnSpPr>
          <p:nvPr/>
        </p:nvCxnSpPr>
        <p:spPr>
          <a:xfrm>
            <a:off x="5076056" y="2852936"/>
            <a:ext cx="1728192" cy="1368152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ixaDeTexto 30"/>
          <p:cNvSpPr txBox="1"/>
          <p:nvPr/>
        </p:nvSpPr>
        <p:spPr>
          <a:xfrm>
            <a:off x="5940152" y="1988840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2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6012160" y="2708920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3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012160" y="3429000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4</a:t>
            </a:r>
          </a:p>
        </p:txBody>
      </p:sp>
      <p:sp>
        <p:nvSpPr>
          <p:cNvPr id="39" name="Oval 38"/>
          <p:cNvSpPr/>
          <p:nvPr/>
        </p:nvSpPr>
        <p:spPr>
          <a:xfrm>
            <a:off x="6804248" y="5013176"/>
            <a:ext cx="1656184" cy="1008112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mbria" panose="02040503050406030204" pitchFamily="18" charset="0"/>
              </a:rPr>
              <a:t>Revisit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Cambria" panose="02040503050406030204" pitchFamily="18" charset="0"/>
              </a:rPr>
              <a:t> Intentions</a:t>
            </a:r>
          </a:p>
        </p:txBody>
      </p:sp>
      <p:cxnSp>
        <p:nvCxnSpPr>
          <p:cNvPr id="40" name="Conexão recta unidireccional 39"/>
          <p:cNvCxnSpPr>
            <a:stCxn id="14" idx="6"/>
            <a:endCxn id="39" idx="2"/>
          </p:cNvCxnSpPr>
          <p:nvPr/>
        </p:nvCxnSpPr>
        <p:spPr>
          <a:xfrm>
            <a:off x="5076056" y="2852936"/>
            <a:ext cx="1728192" cy="2664296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aixaDeTexto 42"/>
          <p:cNvSpPr txBox="1"/>
          <p:nvPr/>
        </p:nvSpPr>
        <p:spPr>
          <a:xfrm>
            <a:off x="6084168" y="4293096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5</a:t>
            </a:r>
          </a:p>
        </p:txBody>
      </p:sp>
      <p:cxnSp>
        <p:nvCxnSpPr>
          <p:cNvPr id="22" name="Conexão recta unidireccional 28">
            <a:extLst>
              <a:ext uri="{FF2B5EF4-FFF2-40B4-BE49-F238E27FC236}">
                <a16:creationId xmlns:a16="http://schemas.microsoft.com/office/drawing/2014/main" id="{DC652D25-9303-4DC9-95AF-53D71863327A}"/>
              </a:ext>
            </a:extLst>
          </p:cNvPr>
          <p:cNvCxnSpPr>
            <a:stCxn id="34" idx="6"/>
          </p:cNvCxnSpPr>
          <p:nvPr/>
        </p:nvCxnSpPr>
        <p:spPr>
          <a:xfrm>
            <a:off x="2187352" y="2420888"/>
            <a:ext cx="1376536" cy="216024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99BD7510-250C-4EF8-88AF-D7E5C2764352}"/>
              </a:ext>
            </a:extLst>
          </p:cNvPr>
          <p:cNvSpPr txBox="1"/>
          <p:nvPr/>
        </p:nvSpPr>
        <p:spPr>
          <a:xfrm>
            <a:off x="2555776" y="2276872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6</a:t>
            </a:r>
          </a:p>
        </p:txBody>
      </p:sp>
      <p:cxnSp>
        <p:nvCxnSpPr>
          <p:cNvPr id="24" name="Conexão recta unidireccional 36">
            <a:extLst>
              <a:ext uri="{FF2B5EF4-FFF2-40B4-BE49-F238E27FC236}">
                <a16:creationId xmlns:a16="http://schemas.microsoft.com/office/drawing/2014/main" id="{228248A8-5E8C-4EE7-BD8A-C7F2197CDA91}"/>
              </a:ext>
            </a:extLst>
          </p:cNvPr>
          <p:cNvCxnSpPr/>
          <p:nvPr/>
        </p:nvCxnSpPr>
        <p:spPr>
          <a:xfrm flipV="1">
            <a:off x="1403648" y="2780928"/>
            <a:ext cx="0" cy="504056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2CF0D502-B00C-401D-BA1C-6DAE07DC1304}"/>
              </a:ext>
            </a:extLst>
          </p:cNvPr>
          <p:cNvSpPr txBox="1"/>
          <p:nvPr/>
        </p:nvSpPr>
        <p:spPr>
          <a:xfrm>
            <a:off x="1475656" y="2924944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7</a:t>
            </a:r>
          </a:p>
        </p:txBody>
      </p:sp>
      <p:cxnSp>
        <p:nvCxnSpPr>
          <p:cNvPr id="27" name="Conexão recta unidireccional 41">
            <a:extLst>
              <a:ext uri="{FF2B5EF4-FFF2-40B4-BE49-F238E27FC236}">
                <a16:creationId xmlns:a16="http://schemas.microsoft.com/office/drawing/2014/main" id="{1F300FC2-3C29-4B1C-9383-A2119B5E0069}"/>
              </a:ext>
            </a:extLst>
          </p:cNvPr>
          <p:cNvCxnSpPr/>
          <p:nvPr/>
        </p:nvCxnSpPr>
        <p:spPr>
          <a:xfrm flipV="1">
            <a:off x="2051720" y="2852936"/>
            <a:ext cx="1368152" cy="936104"/>
          </a:xfrm>
          <a:prstGeom prst="straightConnector1">
            <a:avLst/>
          </a:prstGeom>
          <a:ln w="25400">
            <a:solidFill>
              <a:srgbClr val="81352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6774392C-3BAE-4E57-B304-A6C449E4CD04}"/>
              </a:ext>
            </a:extLst>
          </p:cNvPr>
          <p:cNvSpPr txBox="1"/>
          <p:nvPr/>
        </p:nvSpPr>
        <p:spPr>
          <a:xfrm>
            <a:off x="2463930" y="3051697"/>
            <a:ext cx="5040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pt-PT" sz="1200" b="1" dirty="0">
                <a:solidFill>
                  <a:srgbClr val="803B30"/>
                </a:solidFill>
                <a:latin typeface="Cambria" panose="02040503050406030204" pitchFamily="18" charset="0"/>
              </a:rPr>
              <a:t>H8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8474947-DE35-4A6F-AC72-85F45A349005}"/>
              </a:ext>
            </a:extLst>
          </p:cNvPr>
          <p:cNvSpPr/>
          <p:nvPr/>
        </p:nvSpPr>
        <p:spPr>
          <a:xfrm>
            <a:off x="395536" y="3284984"/>
            <a:ext cx="1872208" cy="864096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</a:rPr>
              <a:t>Brand Image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A854A76-56A2-49E7-9988-AA5C7976BBDB}"/>
              </a:ext>
            </a:extLst>
          </p:cNvPr>
          <p:cNvSpPr/>
          <p:nvPr/>
        </p:nvSpPr>
        <p:spPr>
          <a:xfrm>
            <a:off x="395536" y="1988840"/>
            <a:ext cx="1791816" cy="864096"/>
          </a:xfrm>
          <a:prstGeom prst="ellipse">
            <a:avLst/>
          </a:prstGeom>
          <a:gradFill>
            <a:gsLst>
              <a:gs pos="0">
                <a:srgbClr val="902320">
                  <a:lumMod val="64000"/>
                </a:srgbClr>
              </a:gs>
              <a:gs pos="100000">
                <a:srgbClr val="922122"/>
              </a:gs>
              <a:gs pos="100000">
                <a:srgbClr val="486865"/>
              </a:gs>
              <a:gs pos="80000">
                <a:srgbClr val="92211E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</a:rPr>
              <a:t>Erasmus Experience</a:t>
            </a:r>
          </a:p>
        </p:txBody>
      </p:sp>
      <p:grpSp>
        <p:nvGrpSpPr>
          <p:cNvPr id="35" name="Grupo 16">
            <a:extLst>
              <a:ext uri="{FF2B5EF4-FFF2-40B4-BE49-F238E27FC236}">
                <a16:creationId xmlns:a16="http://schemas.microsoft.com/office/drawing/2014/main" id="{CA741724-7AE6-4E54-B583-1556D7EF6EB9}"/>
              </a:ext>
            </a:extLst>
          </p:cNvPr>
          <p:cNvGrpSpPr/>
          <p:nvPr/>
        </p:nvGrpSpPr>
        <p:grpSpPr>
          <a:xfrm>
            <a:off x="3195464" y="1124744"/>
            <a:ext cx="5472608" cy="2636912"/>
            <a:chOff x="0" y="0"/>
            <a:chExt cx="11665821" cy="2543872"/>
          </a:xfrm>
          <a:solidFill>
            <a:schemeClr val="tx2">
              <a:lumMod val="75000"/>
            </a:schemeClr>
          </a:solidFill>
        </p:grpSpPr>
        <p:sp>
          <p:nvSpPr>
            <p:cNvPr id="36" name="Arredondar Rectângulo de Canto Diagonal 43">
              <a:extLst>
                <a:ext uri="{FF2B5EF4-FFF2-40B4-BE49-F238E27FC236}">
                  <a16:creationId xmlns:a16="http://schemas.microsoft.com/office/drawing/2014/main" id="{3025A26F-4AD1-4AAA-BF21-0FFCA15033C2}"/>
                </a:ext>
              </a:extLst>
            </p:cNvPr>
            <p:cNvSpPr/>
            <p:nvPr/>
          </p:nvSpPr>
          <p:spPr>
            <a:xfrm>
              <a:off x="0" y="0"/>
              <a:ext cx="11665821" cy="2543872"/>
            </a:xfrm>
            <a:prstGeom prst="round2Diag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Arredondar Rectângulo de Canto Diagonal 4">
              <a:extLst>
                <a:ext uri="{FF2B5EF4-FFF2-40B4-BE49-F238E27FC236}">
                  <a16:creationId xmlns:a16="http://schemas.microsoft.com/office/drawing/2014/main" id="{598B9F32-A19E-40CB-AA3F-02334216415D}"/>
                </a:ext>
              </a:extLst>
            </p:cNvPr>
            <p:cNvSpPr/>
            <p:nvPr/>
          </p:nvSpPr>
          <p:spPr>
            <a:xfrm>
              <a:off x="306995" y="347336"/>
              <a:ext cx="11148293" cy="20350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74320" tIns="114300" rIns="114300" bIns="114300" numCol="1" spcCol="1270" anchor="ctr" anchorCtr="0">
              <a:noAutofit/>
            </a:bodyPr>
            <a:lstStyle/>
            <a:p>
              <a:pPr lvl="0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dirty="0"/>
                <a:t>Transcendent customer experience  - experiences with products that are “characterized by feelings such as self-transformation or awakening, separation from the mundane, and connectedness to larger phenomena outside the self”</a:t>
              </a:r>
            </a:p>
          </p:txBody>
        </p:sp>
      </p:grpSp>
      <p:grpSp>
        <p:nvGrpSpPr>
          <p:cNvPr id="38" name="Grupo 16">
            <a:extLst>
              <a:ext uri="{FF2B5EF4-FFF2-40B4-BE49-F238E27FC236}">
                <a16:creationId xmlns:a16="http://schemas.microsoft.com/office/drawing/2014/main" id="{070987E5-2E64-4C00-A5E6-298647C28C10}"/>
              </a:ext>
            </a:extLst>
          </p:cNvPr>
          <p:cNvGrpSpPr/>
          <p:nvPr/>
        </p:nvGrpSpPr>
        <p:grpSpPr>
          <a:xfrm>
            <a:off x="182723" y="5024219"/>
            <a:ext cx="3384376" cy="1268760"/>
            <a:chOff x="0" y="0"/>
            <a:chExt cx="11665821" cy="2543872"/>
          </a:xfrm>
          <a:solidFill>
            <a:schemeClr val="tx2">
              <a:lumMod val="75000"/>
            </a:schemeClr>
          </a:solidFill>
        </p:grpSpPr>
        <p:sp>
          <p:nvSpPr>
            <p:cNvPr id="41" name="Arredondar Rectângulo de Canto Diagonal 51">
              <a:extLst>
                <a:ext uri="{FF2B5EF4-FFF2-40B4-BE49-F238E27FC236}">
                  <a16:creationId xmlns:a16="http://schemas.microsoft.com/office/drawing/2014/main" id="{CF1F855A-DD32-4B3A-BF25-691F0AFDB8F0}"/>
                </a:ext>
              </a:extLst>
            </p:cNvPr>
            <p:cNvSpPr/>
            <p:nvPr/>
          </p:nvSpPr>
          <p:spPr>
            <a:xfrm>
              <a:off x="0" y="0"/>
              <a:ext cx="11665821" cy="2543872"/>
            </a:xfrm>
            <a:prstGeom prst="round2Diag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Arredondar Rectângulo de Canto Diagonal 4">
              <a:extLst>
                <a:ext uri="{FF2B5EF4-FFF2-40B4-BE49-F238E27FC236}">
                  <a16:creationId xmlns:a16="http://schemas.microsoft.com/office/drawing/2014/main" id="{640475C2-2474-4608-AC5A-E347AB787751}"/>
                </a:ext>
              </a:extLst>
            </p:cNvPr>
            <p:cNvSpPr/>
            <p:nvPr/>
          </p:nvSpPr>
          <p:spPr>
            <a:xfrm>
              <a:off x="306995" y="347336"/>
              <a:ext cx="11148293" cy="203509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74320" tIns="114300" rIns="114300" bIns="114300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dirty="0"/>
                <a:t>How are the countries perceived by Erasmus students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0689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2448 -0.00532 L 1.94444E-6 -1.21906E-6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00" y="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7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4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8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8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2448 -0.00532 L 1.94444E-6 -1.21906E-6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00" y="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7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2448 -0.00532 L 1.94444E-6 -1.21906E-6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200" y="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7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7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8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3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4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4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14" grpId="0" animBg="1"/>
      <p:bldP spid="16" grpId="0"/>
      <p:bldP spid="31" grpId="0"/>
      <p:bldP spid="32" grpId="0"/>
      <p:bldP spid="33" grpId="0"/>
      <p:bldP spid="39" grpId="0" animBg="1"/>
      <p:bldP spid="43" grpId="0"/>
      <p:bldP spid="23" grpId="0"/>
      <p:bldP spid="26" grpId="0"/>
      <p:bldP spid="29" grpId="0"/>
      <p:bldP spid="30" grpId="0" animBg="1"/>
      <p:bldP spid="3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ângulo 2"/>
          <p:cNvSpPr/>
          <p:nvPr/>
        </p:nvSpPr>
        <p:spPr>
          <a:xfrm>
            <a:off x="274501" y="131802"/>
            <a:ext cx="24897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3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mbria" pitchFamily="18" charset="0"/>
              </a:rPr>
              <a:t>Methodology</a:t>
            </a:r>
            <a:endParaRPr lang="pt-PT" sz="3200" kern="0" dirty="0">
              <a:solidFill>
                <a:schemeClr val="tx1">
                  <a:lumMod val="75000"/>
                  <a:lumOff val="25000"/>
                </a:schemeClr>
              </a:solidFill>
              <a:latin typeface="Cambria" pitchFamily="18" charset="0"/>
            </a:endParaRPr>
          </a:p>
        </p:txBody>
      </p:sp>
      <p:sp>
        <p:nvSpPr>
          <p:cNvPr id="4" name="Rectângulo 3"/>
          <p:cNvSpPr/>
          <p:nvPr/>
        </p:nvSpPr>
        <p:spPr>
          <a:xfrm>
            <a:off x="0" y="668631"/>
            <a:ext cx="9252520" cy="47945"/>
          </a:xfrm>
          <a:prstGeom prst="rect">
            <a:avLst/>
          </a:prstGeom>
          <a:solidFill>
            <a:srgbClr val="820000"/>
          </a:solidFill>
          <a:ln>
            <a:solidFill>
              <a:srgbClr val="A8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graphicFrame>
        <p:nvGraphicFramePr>
          <p:cNvPr id="25" name="Tabe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149969"/>
              </p:ext>
            </p:extLst>
          </p:nvPr>
        </p:nvGraphicFramePr>
        <p:xfrm>
          <a:off x="449796" y="1454316"/>
          <a:ext cx="8352928" cy="3949367"/>
        </p:xfrm>
        <a:graphic>
          <a:graphicData uri="http://schemas.openxmlformats.org/drawingml/2006/table">
            <a:tbl>
              <a:tblPr firstRow="1" firstCol="1" bandRow="1">
                <a:tableStyleId>{85BE263C-DBD7-4A20-BB59-AAB30ACAA65A}</a:tableStyleId>
              </a:tblPr>
              <a:tblGrid>
                <a:gridCol w="14782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746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Construct</a:t>
                      </a:r>
                      <a:endParaRPr lang="pt-PT" sz="2000" dirty="0">
                        <a:effectLst/>
                        <a:latin typeface="Times New Roman"/>
                        <a:ea typeface="PMingLiU"/>
                      </a:endParaRPr>
                    </a:p>
                  </a:txBody>
                  <a:tcPr marL="55917" marR="55917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2000" dirty="0">
                          <a:effectLst/>
                        </a:rPr>
                        <a:t>Indicators</a:t>
                      </a:r>
                      <a:endParaRPr lang="pt-PT" sz="2000" dirty="0">
                        <a:effectLst/>
                        <a:latin typeface="Times New Roman"/>
                        <a:ea typeface="PMingLiU"/>
                      </a:endParaRPr>
                    </a:p>
                  </a:txBody>
                  <a:tcPr marL="55917" marR="55917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7910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Brand</a:t>
                      </a:r>
                      <a:r>
                        <a:rPr lang="en-GB" sz="1800" baseline="0" dirty="0">
                          <a:effectLst/>
                        </a:rPr>
                        <a:t> Image</a:t>
                      </a:r>
                      <a:endParaRPr lang="pt-PT" sz="1800" dirty="0">
                        <a:effectLst/>
                        <a:latin typeface="Times New Roman"/>
                        <a:ea typeface="PMingLiU"/>
                      </a:endParaRPr>
                    </a:p>
                  </a:txBody>
                  <a:tcPr marL="55917" marR="55917" marT="0" marB="0" anchor="ctr"/>
                </a:tc>
                <a:tc>
                  <a:txBody>
                    <a:bodyPr/>
                    <a:lstStyle/>
                    <a:p>
                      <a:r>
                        <a:rPr lang="en-US" sz="2000" kern="1200" dirty="0"/>
                        <a:t>_______ is safe and secure</a:t>
                      </a:r>
                      <a:endParaRPr lang="pt-PT" sz="2000" kern="1200" dirty="0"/>
                    </a:p>
                    <a:p>
                      <a:r>
                        <a:rPr lang="en-US" sz="2000" kern="1200" dirty="0"/>
                        <a:t>_______ offers exciting and interesting places to visit</a:t>
                      </a:r>
                      <a:endParaRPr lang="pt-PT" sz="2000" kern="1200" dirty="0"/>
                    </a:p>
                    <a:p>
                      <a:r>
                        <a:rPr lang="en-US" sz="2000" kern="1200" dirty="0"/>
                        <a:t>_______ has beautiful scenery and natural attractions</a:t>
                      </a:r>
                      <a:endParaRPr lang="pt-PT" sz="2000" kern="1200" dirty="0"/>
                    </a:p>
                    <a:p>
                      <a:r>
                        <a:rPr lang="en-US" sz="2000" kern="1200" dirty="0"/>
                        <a:t>_______ has a pleasant climate</a:t>
                      </a:r>
                      <a:endParaRPr lang="pt-PT" sz="2000" kern="1200" dirty="0"/>
                    </a:p>
                    <a:p>
                      <a:r>
                        <a:rPr lang="en-US" sz="2000" kern="1200" dirty="0"/>
                        <a:t>As a tourism destination, ______l offers good value for money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917" marR="55917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3831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 </a:t>
                      </a:r>
                      <a:endParaRPr lang="pt-PT" sz="1800" dirty="0">
                        <a:effectLst/>
                      </a:endParaRPr>
                    </a:p>
                    <a:p>
                      <a:pPr algn="ctr">
                        <a:lnSpc>
                          <a:spcPts val="1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Erasmus</a:t>
                      </a:r>
                      <a:r>
                        <a:rPr lang="en-GB" sz="1800" baseline="0" dirty="0">
                          <a:effectLst/>
                        </a:rPr>
                        <a:t> </a:t>
                      </a:r>
                    </a:p>
                    <a:p>
                      <a:pPr algn="ctr">
                        <a:lnSpc>
                          <a:spcPts val="1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baseline="0" dirty="0">
                          <a:effectLst/>
                        </a:rPr>
                        <a:t>Experience</a:t>
                      </a:r>
                      <a:endParaRPr lang="pt-PT" sz="1800" dirty="0">
                        <a:effectLst/>
                        <a:latin typeface="Times New Roman"/>
                        <a:ea typeface="PMingLiU"/>
                      </a:endParaRPr>
                    </a:p>
                  </a:txBody>
                  <a:tcPr marL="55917" marR="55917" marT="0" marB="0" anchor="ctr"/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 felt like I was having the ideal Erasmus experience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 truly enjoyed this experience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experience was beyond words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 learned new things as a result of this experience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experience was emotionally intense</a:t>
                      </a:r>
                      <a:endParaRPr lang="pt-PT" sz="2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917" marR="55917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6567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dirty="0">
                          <a:effectLst/>
                        </a:rPr>
                        <a:t>Brand Love</a:t>
                      </a:r>
                      <a:endParaRPr lang="pt-PT" sz="1800" dirty="0">
                        <a:effectLst/>
                        <a:latin typeface="Times New Roman"/>
                        <a:ea typeface="PMingLiU"/>
                      </a:endParaRPr>
                    </a:p>
                  </a:txBody>
                  <a:tcPr marL="55917" marR="55917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____ makes me feel good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r>
                        <a:rPr lang="pt-PT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 have neutral feelings about __________ (R)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r>
                        <a:rPr lang="pt-PT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____________ makes me happy</a:t>
                      </a:r>
                      <a:r>
                        <a:rPr lang="pt-PT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  <a:r>
                        <a:rPr lang="pt-PT" sz="18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 love __________</a:t>
                      </a:r>
                      <a:endParaRPr lang="pt-PT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5917" marR="55917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Rectangle 10">
            <a:extLst>
              <a:ext uri="{FF2B5EF4-FFF2-40B4-BE49-F238E27FC236}">
                <a16:creationId xmlns:a16="http://schemas.microsoft.com/office/drawing/2014/main" id="{45AC0CE0-FC51-4819-A41C-055C8E4EBB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04259" y="6426000"/>
            <a:ext cx="1224000" cy="432000"/>
          </a:xfrm>
          <a:prstGeom prst="rect">
            <a:avLst/>
          </a:prstGeom>
          <a:solidFill>
            <a:srgbClr val="820000"/>
          </a:solidFill>
          <a:ln>
            <a:noFill/>
          </a:ln>
          <a:extLst/>
        </p:spPr>
        <p:txBody>
          <a:bodyPr wrap="square" lIns="0" tIns="72000" rIns="0" bIns="0" anchor="t" anchorCtr="0">
            <a:noAutofit/>
          </a:bodyPr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METHODOLOGY</a:t>
            </a:r>
          </a:p>
        </p:txBody>
      </p:sp>
      <p:sp>
        <p:nvSpPr>
          <p:cNvPr id="6" name="Rectangle 11">
            <a:extLst>
              <a:ext uri="{FF2B5EF4-FFF2-40B4-BE49-F238E27FC236}">
                <a16:creationId xmlns:a16="http://schemas.microsoft.com/office/drawing/2014/main" id="{3CDF1036-AEA6-4A83-AEE3-D0512C2CCA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64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360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MITATIONS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FUTURE</a:t>
            </a:r>
            <a:r>
              <a:rPr lang="fr-FR" altLang="pt-PT" sz="1300" baseline="0" dirty="0">
                <a:solidFill>
                  <a:prstClr val="white"/>
                </a:solidFill>
              </a:rPr>
              <a:t> </a:t>
            </a:r>
            <a:r>
              <a:rPr lang="fr-FR" altLang="pt-PT" sz="1300" dirty="0">
                <a:solidFill>
                  <a:prstClr val="white"/>
                </a:solidFill>
              </a:rPr>
              <a:t>RESEARCH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EDA23B2-C3F1-4EBB-BF57-FA795009F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INTRODUCTION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5B11C2BA-F138-4462-B928-B5A5B7523E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6191" y="6426000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72000" bIns="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LITERATURE REVIEW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fr-FR" altLang="pt-PT" sz="1300" dirty="0">
              <a:solidFill>
                <a:prstClr val="white"/>
              </a:solidFill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9B08430D-5836-4E2D-A9E0-F6EF0B3D9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773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CONCLUSIONS</a:t>
            </a:r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6F8F1EA6-8CF4-4F33-AD59-10A0881CC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7058" y="6438285"/>
            <a:ext cx="1224000" cy="432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wrap="none" tIns="118800"/>
          <a:lstStyle>
            <a:lvl1pPr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b="1" baseline="-25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fr-FR" altLang="pt-PT" sz="1300" dirty="0">
                <a:solidFill>
                  <a:prstClr val="white"/>
                </a:solidFill>
              </a:rPr>
              <a:t>RESULT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DCDDAFEF-7AE6-4D85-8AFB-00063EF7AFBE}"/>
              </a:ext>
            </a:extLst>
          </p:cNvPr>
          <p:cNvSpPr txBox="1"/>
          <p:nvPr/>
        </p:nvSpPr>
        <p:spPr>
          <a:xfrm>
            <a:off x="736023" y="5483509"/>
            <a:ext cx="30243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elected constructs</a:t>
            </a:r>
          </a:p>
        </p:txBody>
      </p:sp>
    </p:spTree>
    <p:extLst>
      <p:ext uri="{BB962C8B-B14F-4D97-AF65-F5344CB8AC3E}">
        <p14:creationId xmlns:p14="http://schemas.microsoft.com/office/powerpoint/2010/main" val="114579971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3175">
          <a:solidFill>
            <a:schemeClr val="tx1">
              <a:lumMod val="65000"/>
              <a:lumOff val="35000"/>
            </a:schemeClr>
          </a:solidFill>
        </a:ln>
      </a:spPr>
      <a:bodyPr rtlCol="0" anchor="ctr"/>
      <a:lstStyle>
        <a:defPPr algn="ctr">
          <a:defRPr sz="2000" dirty="0" smtClean="0">
            <a:solidFill>
              <a:schemeClr val="tx1">
                <a:lumMod val="85000"/>
                <a:lumOff val="15000"/>
              </a:schemeClr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latin typeface="Century Gothic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AD124390-EE8C-4407-BF47-EEB86FA761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S010338268</Template>
  <TotalTime>9640</TotalTime>
  <Words>1013</Words>
  <Application>Microsoft Office PowerPoint</Application>
  <PresentationFormat>Apresentação no Ecrã (4:3)</PresentationFormat>
  <Paragraphs>265</Paragraphs>
  <Slides>18</Slides>
  <Notes>18</Notes>
  <HiddenSlides>0</HiddenSlides>
  <MMClips>0</MMClips>
  <ScaleCrop>false</ScaleCrop>
  <HeadingPairs>
    <vt:vector size="6" baseType="variant">
      <vt:variant>
        <vt:lpstr>Tipos de letra usados</vt:lpstr>
      </vt:variant>
      <vt:variant>
        <vt:i4>9</vt:i4>
      </vt:variant>
      <vt:variant>
        <vt:lpstr>Tema</vt:lpstr>
      </vt:variant>
      <vt:variant>
        <vt:i4>3</vt:i4>
      </vt:variant>
      <vt:variant>
        <vt:lpstr>Títulos dos diapositivos</vt:lpstr>
      </vt:variant>
      <vt:variant>
        <vt:i4>18</vt:i4>
      </vt:variant>
    </vt:vector>
  </HeadingPairs>
  <TitlesOfParts>
    <vt:vector size="30" baseType="lpstr">
      <vt:lpstr>BatangChe</vt:lpstr>
      <vt:lpstr>맑은 고딕</vt:lpstr>
      <vt:lpstr>ＭＳ Ｐゴシック</vt:lpstr>
      <vt:lpstr>PMingLiU</vt:lpstr>
      <vt:lpstr>Arial</vt:lpstr>
      <vt:lpstr>Calibri</vt:lpstr>
      <vt:lpstr>Cambria</vt:lpstr>
      <vt:lpstr>Century Gothic</vt:lpstr>
      <vt:lpstr>Times New Roman</vt:lpstr>
      <vt:lpstr>3_Office Theme</vt:lpstr>
      <vt:lpstr>4_Office Theme</vt:lpstr>
      <vt:lpstr>Custom Design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dmin</dc:creator>
  <cp:lastModifiedBy>Suzanne Amaro</cp:lastModifiedBy>
  <cp:revision>647</cp:revision>
  <dcterms:created xsi:type="dcterms:W3CDTF">2013-06-06T21:53:24Z</dcterms:created>
  <dcterms:modified xsi:type="dcterms:W3CDTF">2019-05-11T10:40:0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3382689990</vt:lpwstr>
  </property>
</Properties>
</file>